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slides/slide7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8.xml" ContentType="application/vnd.openxmlformats-officedocument.presentationml.notesSlid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8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1.xml" ContentType="application/vnd.openxmlformats-officedocument.presentationml.notesSlide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9.xml" ContentType="application/vnd.openxmlformats-officedocument.drawingml.chart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charts/chart10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6.xml" ContentType="application/vnd.openxmlformats-officedocument.presentationml.notesSlide+xml"/>
  <Override PartName="/ppt/charts/chart11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77"/>
  </p:notesMasterIdLst>
  <p:sldIdLst>
    <p:sldId id="256" r:id="rId5"/>
    <p:sldId id="430" r:id="rId6"/>
    <p:sldId id="900" r:id="rId7"/>
    <p:sldId id="496" r:id="rId8"/>
    <p:sldId id="531" r:id="rId9"/>
    <p:sldId id="528" r:id="rId10"/>
    <p:sldId id="899" r:id="rId11"/>
    <p:sldId id="580" r:id="rId12"/>
    <p:sldId id="489" r:id="rId13"/>
    <p:sldId id="490" r:id="rId14"/>
    <p:sldId id="582" r:id="rId15"/>
    <p:sldId id="593" r:id="rId16"/>
    <p:sldId id="584" r:id="rId17"/>
    <p:sldId id="481" r:id="rId18"/>
    <p:sldId id="586" r:id="rId19"/>
    <p:sldId id="587" r:id="rId20"/>
    <p:sldId id="592" r:id="rId21"/>
    <p:sldId id="594" r:id="rId22"/>
    <p:sldId id="595" r:id="rId23"/>
    <p:sldId id="596" r:id="rId24"/>
    <p:sldId id="588" r:id="rId25"/>
    <p:sldId id="589" r:id="rId26"/>
    <p:sldId id="590" r:id="rId27"/>
    <p:sldId id="902" r:id="rId28"/>
    <p:sldId id="597" r:id="rId29"/>
    <p:sldId id="898" r:id="rId30"/>
    <p:sldId id="643" r:id="rId31"/>
    <p:sldId id="743" r:id="rId32"/>
    <p:sldId id="744" r:id="rId33"/>
    <p:sldId id="903" r:id="rId34"/>
    <p:sldId id="548" r:id="rId35"/>
    <p:sldId id="633" r:id="rId36"/>
    <p:sldId id="634" r:id="rId37"/>
    <p:sldId id="635" r:id="rId38"/>
    <p:sldId id="750" r:id="rId39"/>
    <p:sldId id="749" r:id="rId40"/>
    <p:sldId id="638" r:id="rId41"/>
    <p:sldId id="639" r:id="rId42"/>
    <p:sldId id="471" r:id="rId43"/>
    <p:sldId id="745" r:id="rId44"/>
    <p:sldId id="641" r:id="rId45"/>
    <p:sldId id="734" r:id="rId46"/>
    <p:sldId id="645" r:id="rId47"/>
    <p:sldId id="646" r:id="rId48"/>
    <p:sldId id="648" r:id="rId49"/>
    <p:sldId id="649" r:id="rId50"/>
    <p:sldId id="650" r:id="rId51"/>
    <p:sldId id="653" r:id="rId52"/>
    <p:sldId id="735" r:id="rId53"/>
    <p:sldId id="656" r:id="rId54"/>
    <p:sldId id="736" r:id="rId55"/>
    <p:sldId id="658" r:id="rId56"/>
    <p:sldId id="746" r:id="rId57"/>
    <p:sldId id="659" r:id="rId58"/>
    <p:sldId id="660" r:id="rId59"/>
    <p:sldId id="661" r:id="rId60"/>
    <p:sldId id="662" r:id="rId61"/>
    <p:sldId id="663" r:id="rId62"/>
    <p:sldId id="664" r:id="rId63"/>
    <p:sldId id="737" r:id="rId64"/>
    <p:sldId id="666" r:id="rId65"/>
    <p:sldId id="667" r:id="rId66"/>
    <p:sldId id="668" r:id="rId67"/>
    <p:sldId id="669" r:id="rId68"/>
    <p:sldId id="747" r:id="rId69"/>
    <p:sldId id="670" r:id="rId70"/>
    <p:sldId id="672" r:id="rId71"/>
    <p:sldId id="671" r:id="rId72"/>
    <p:sldId id="748" r:id="rId73"/>
    <p:sldId id="570" r:id="rId74"/>
    <p:sldId id="675" r:id="rId75"/>
    <p:sldId id="257" r:id="rId76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4995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552" y="10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viewProps" Target="viewProps.xml"/><Relationship Id="rId5" Type="http://schemas.openxmlformats.org/officeDocument/2006/relationships/slide" Target="slides/slide1.xml"/><Relationship Id="rId61" Type="http://schemas.openxmlformats.org/officeDocument/2006/relationships/slide" Target="slides/slide57.xml"/><Relationship Id="rId19" Type="http://schemas.openxmlformats.org/officeDocument/2006/relationships/slide" Target="slides/slide1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theme" Target="theme/theme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presProps" Target="presProps.xml"/><Relationship Id="rId81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slide" Target="slides/slide72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Book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25F6-442F-A280-C5673891F175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25F6-442F-A280-C5673891F17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25F6-442F-A280-C5673891F175}"/>
              </c:ext>
            </c:extLst>
          </c:dPt>
          <c:dPt>
            <c:idx val="3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25F6-442F-A280-C5673891F175}"/>
              </c:ext>
            </c:extLst>
          </c:dPt>
          <c:dPt>
            <c:idx val="4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25F6-442F-A280-C5673891F175}"/>
              </c:ext>
            </c:extLst>
          </c:dPt>
          <c:dPt>
            <c:idx val="5"/>
            <c:bubble3D val="0"/>
            <c:explosion val="22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25F6-442F-A280-C5673891F175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l-NL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1-25F6-442F-A280-C5673891F175}"/>
                </c:ext>
              </c:extLst>
            </c:dLbl>
            <c:dLbl>
              <c:idx val="1"/>
              <c:tx>
                <c:rich>
                  <a:bodyPr rot="0" spcFirstLastPara="1" vertOverflow="overflow" horzOverflow="overflow" vert="horz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100" b="0" i="0" u="none" strike="noStrike" kern="1200" baseline="0">
                        <a:solidFill>
                          <a:srgbClr val="201E1F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100" dirty="0" err="1">
                        <a:solidFill>
                          <a:srgbClr val="201E1F"/>
                        </a:solidFill>
                      </a:rPr>
                      <a:t>geen</a:t>
                    </a:r>
                    <a:br>
                      <a:rPr lang="en-US" sz="1100" dirty="0">
                        <a:solidFill>
                          <a:srgbClr val="201E1F"/>
                        </a:solidFill>
                      </a:rPr>
                    </a:br>
                    <a:r>
                      <a:rPr lang="en-US" sz="1100" dirty="0" err="1">
                        <a:solidFill>
                          <a:srgbClr val="201E1F"/>
                        </a:solidFill>
                      </a:rPr>
                      <a:t>morfine</a:t>
                    </a:r>
                    <a:endParaRPr lang="en-US" sz="1100" dirty="0">
                      <a:solidFill>
                        <a:srgbClr val="201E1F"/>
                      </a:solidFill>
                    </a:endParaRP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rgbClr val="201E1F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l-NL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3-25F6-442F-A280-C5673891F17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 err="1"/>
                      <a:t>palliatieve</a:t>
                    </a:r>
                    <a:br>
                      <a:rPr lang="en-US" dirty="0"/>
                    </a:br>
                    <a:r>
                      <a:rPr lang="en-US" dirty="0" err="1"/>
                      <a:t>sedatie</a:t>
                    </a:r>
                    <a:endParaRPr lang="en-US" dirty="0"/>
                  </a:p>
                </c:rich>
              </c:tx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25F6-442F-A280-C5673891F175}"/>
                </c:ext>
              </c:extLst>
            </c:dLbl>
            <c:dLbl>
              <c:idx val="4"/>
              <c:layout>
                <c:manualLayout>
                  <c:x val="4.7056694108512419E-3"/>
                  <c:y val="-1.0600540604066282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overflow" horzOverflow="overflow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l-NL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</c:ext>
                <c:ext xmlns:c16="http://schemas.microsoft.com/office/drawing/2014/chart" uri="{C3380CC4-5D6E-409C-BE32-E72D297353CC}">
                  <c16:uniqueId val="{0000000A-25F6-442F-A280-C5673891F17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overflow" horzOverflow="overflow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l-NL"/>
              </a:p>
            </c:txPr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Sheet1!$A$1:$A$6</c:f>
              <c:strCache>
                <c:ptCount val="5"/>
                <c:pt idx="0">
                  <c:v>plotseling overleden</c:v>
                </c:pt>
                <c:pt idx="1">
                  <c:v>geen morfine</c:v>
                </c:pt>
                <c:pt idx="2">
                  <c:v>morfine</c:v>
                </c:pt>
                <c:pt idx="3">
                  <c:v>palliatieve sedatie</c:v>
                </c:pt>
                <c:pt idx="4">
                  <c:v>euthanasie</c:v>
                </c:pt>
              </c:strCache>
            </c:strRef>
          </c:cat>
          <c:val>
            <c:numRef>
              <c:f>Sheet1!$B$1:$B$6</c:f>
              <c:numCache>
                <c:formatCode>General</c:formatCode>
                <c:ptCount val="6"/>
                <c:pt idx="0">
                  <c:v>20</c:v>
                </c:pt>
                <c:pt idx="1">
                  <c:v>20</c:v>
                </c:pt>
                <c:pt idx="2">
                  <c:v>44</c:v>
                </c:pt>
                <c:pt idx="3">
                  <c:v>10</c:v>
                </c:pt>
                <c:pt idx="4">
                  <c:v>3</c:v>
                </c:pt>
                <c:pt idx="5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5F6-442F-A280-C5673891F17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93"/>
        <c:holeSize val="60"/>
      </c:doughnutChart>
      <c:spPr>
        <a:noFill/>
        <a:ln>
          <a:noFill/>
        </a:ln>
        <a:effectLst/>
      </c:spPr>
    </c:plotArea>
    <c:plotVisOnly val="1"/>
    <c:dispBlanksAs val="gap"/>
    <c:showDLblsOverMax val="1"/>
  </c:chart>
  <c:spPr>
    <a:noFill/>
    <a:ln>
      <a:noFill/>
    </a:ln>
    <a:effectLst/>
  </c:spPr>
  <c:txPr>
    <a:bodyPr/>
    <a:lstStyle/>
    <a:p>
      <a:pPr>
        <a:defRPr sz="1000"/>
      </a:pPr>
      <a:endParaRPr lang="nl-NL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47146090474414"/>
          <c:y val="2.9850746268656716E-2"/>
          <c:w val="0.68453388574020424"/>
          <c:h val="0.7854002713704206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ja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het verwachte verloop van palliatieve sedatie</c:v>
                </c:pt>
                <c:pt idx="1">
                  <c:v>het verschil met euthanasie</c:v>
                </c:pt>
                <c:pt idx="2">
                  <c:v>de voorwaarden van palliatieve sedatie</c:v>
                </c:pt>
                <c:pt idx="3">
                  <c:v>de mogelijke complicaties</c:v>
                </c:pt>
                <c:pt idx="4">
                  <c:v>de mogelijkheid van gesprekken met andere zorgverleners
(zoals geestelijk verzorger)</c:v>
                </c:pt>
                <c:pt idx="5">
                  <c:v>mogelijke opname in het hospice of ziekenhuis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87</c:v>
                </c:pt>
                <c:pt idx="1">
                  <c:v>0.72</c:v>
                </c:pt>
                <c:pt idx="2">
                  <c:v>0.72</c:v>
                </c:pt>
                <c:pt idx="3">
                  <c:v>0.55000000000000004</c:v>
                </c:pt>
                <c:pt idx="4">
                  <c:v>0.48</c:v>
                </c:pt>
                <c:pt idx="5">
                  <c:v>0.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35-40F9-8ED0-CB6DDCEB4A1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ee, had ik wel graag willen ontvangen</c:v>
                </c:pt>
              </c:strCache>
            </c:strRef>
          </c:tx>
          <c:spPr>
            <a:solidFill>
              <a:srgbClr val="EC6533"/>
            </a:solidFill>
            <a:ln>
              <a:solidFill>
                <a:srgbClr val="EC6533"/>
              </a:solidFill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het verwachte verloop van palliatieve sedatie</c:v>
                </c:pt>
                <c:pt idx="1">
                  <c:v>het verschil met euthanasie</c:v>
                </c:pt>
                <c:pt idx="2">
                  <c:v>de voorwaarden van palliatieve sedatie</c:v>
                </c:pt>
                <c:pt idx="3">
                  <c:v>de mogelijke complicaties</c:v>
                </c:pt>
                <c:pt idx="4">
                  <c:v>de mogelijkheid van gesprekken met andere zorgverleners
(zoals geestelijk verzorger)</c:v>
                </c:pt>
                <c:pt idx="5">
                  <c:v>mogelijke opname in het hospice of ziekenhuis</c:v>
                </c:pt>
              </c:strCache>
            </c:strRef>
          </c:cat>
          <c:val>
            <c:numRef>
              <c:f>Sheet1!$C$2:$C$7</c:f>
              <c:numCache>
                <c:formatCode>0.00%</c:formatCode>
                <c:ptCount val="6"/>
                <c:pt idx="0">
                  <c:v>6.0000000000000053E-2</c:v>
                </c:pt>
                <c:pt idx="1">
                  <c:v>5.0000000000000044E-2</c:v>
                </c:pt>
                <c:pt idx="2">
                  <c:v>7.0000000000000062E-2</c:v>
                </c:pt>
                <c:pt idx="3">
                  <c:v>0.19999999999999996</c:v>
                </c:pt>
                <c:pt idx="4">
                  <c:v>8.9999999999999969E-2</c:v>
                </c:pt>
                <c:pt idx="5">
                  <c:v>4.999999999999998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535-40F9-8ED0-CB6DDCEB4A1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nee, had ik ook geen behoefte aan</c:v>
                </c:pt>
              </c:strCache>
            </c:strRef>
          </c:tx>
          <c:spPr>
            <a:solidFill>
              <a:srgbClr val="5D5C56"/>
            </a:solidFill>
            <a:ln>
              <a:solidFill>
                <a:srgbClr val="5D5C56"/>
              </a:solidFill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het verwachte verloop van palliatieve sedatie</c:v>
                </c:pt>
                <c:pt idx="1">
                  <c:v>het verschil met euthanasie</c:v>
                </c:pt>
                <c:pt idx="2">
                  <c:v>de voorwaarden van palliatieve sedatie</c:v>
                </c:pt>
                <c:pt idx="3">
                  <c:v>de mogelijke complicaties</c:v>
                </c:pt>
                <c:pt idx="4">
                  <c:v>de mogelijkheid van gesprekken met andere zorgverleners
(zoals geestelijk verzorger)</c:v>
                </c:pt>
                <c:pt idx="5">
                  <c:v>mogelijke opname in het hospice of ziekenhuis</c:v>
                </c:pt>
              </c:strCache>
            </c:strRef>
          </c:cat>
          <c:val>
            <c:numRef>
              <c:f>Sheet1!$D$2:$D$7</c:f>
              <c:numCache>
                <c:formatCode>0%</c:formatCode>
                <c:ptCount val="6"/>
                <c:pt idx="0">
                  <c:v>6.9999999999999951E-2</c:v>
                </c:pt>
                <c:pt idx="1">
                  <c:v>0.22999999999999998</c:v>
                </c:pt>
                <c:pt idx="2">
                  <c:v>0.20999999999999996</c:v>
                </c:pt>
                <c:pt idx="3">
                  <c:v>0.25</c:v>
                </c:pt>
                <c:pt idx="4">
                  <c:v>0.43000000000000005</c:v>
                </c:pt>
                <c:pt idx="5">
                  <c:v>0.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535-40F9-8ED0-CB6DDCEB4A1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37377727"/>
        <c:axId val="1137376479"/>
      </c:barChart>
      <c:catAx>
        <c:axId val="113737772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accent5"/>
            </a:solidFill>
            <a:round/>
          </a:ln>
          <a:effectLst/>
        </c:spPr>
        <c:txPr>
          <a:bodyPr rot="-60000000" spcFirstLastPara="1" vertOverflow="ellipsis" vert="horz" wrap="square" anchor="t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1137376479"/>
        <c:crosses val="autoZero"/>
        <c:auto val="1"/>
        <c:lblAlgn val="ctr"/>
        <c:lblOffset val="100"/>
        <c:noMultiLvlLbl val="0"/>
      </c:catAx>
      <c:valAx>
        <c:axId val="1137376479"/>
        <c:scaling>
          <c:orientation val="minMax"/>
          <c:max val="1"/>
          <c:min val="0"/>
        </c:scaling>
        <c:delete val="0"/>
        <c:axPos val="b"/>
        <c:majorGridlines>
          <c:spPr>
            <a:ln w="9525" cap="flat" cmpd="sng" algn="ctr">
              <a:solidFill>
                <a:schemeClr val="accent5">
                  <a:lumMod val="20000"/>
                  <a:lumOff val="80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113737772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l-N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nl-NL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5898605830164766"/>
          <c:y val="2.9850746268656716E-2"/>
          <c:w val="0.80940011776094523"/>
          <c:h val="0.7854002713704206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(te)kort</c:v>
                </c:pt>
              </c:strCache>
            </c:strRef>
          </c:tx>
          <c:spPr>
            <a:solidFill>
              <a:srgbClr val="F18A55"/>
            </a:solidFill>
            <a:ln>
              <a:solidFill>
                <a:srgbClr val="F18A55"/>
              </a:solidFill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anger dan 6 dagen</c:v>
                </c:pt>
                <c:pt idx="1">
                  <c:v>4 tot 6 dagen</c:v>
                </c:pt>
                <c:pt idx="2">
                  <c:v>1 tot 3 dagen</c:v>
                </c:pt>
                <c:pt idx="3">
                  <c:v>korter dan 1 dag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01</c:v>
                </c:pt>
                <c:pt idx="1">
                  <c:v>0.03</c:v>
                </c:pt>
                <c:pt idx="2">
                  <c:v>0.05</c:v>
                </c:pt>
                <c:pt idx="3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35-40F9-8ED0-CB6DDCEB4A1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goed</c:v>
                </c:pt>
              </c:strCache>
            </c:strRef>
          </c:tx>
          <c:spPr>
            <a:solidFill>
              <a:srgbClr val="8EB2AA"/>
            </a:solidFill>
            <a:ln>
              <a:solidFill>
                <a:srgbClr val="8EB2AA"/>
              </a:solidFill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anger dan 6 dagen</c:v>
                </c:pt>
                <c:pt idx="1">
                  <c:v>4 tot 6 dagen</c:v>
                </c:pt>
                <c:pt idx="2">
                  <c:v>1 tot 3 dagen</c:v>
                </c:pt>
                <c:pt idx="3">
                  <c:v>korter dan 1 dag</c:v>
                </c:pt>
              </c:strCache>
            </c:strRef>
          </c:cat>
          <c:val>
            <c:numRef>
              <c:f>Sheet1!$C$2:$C$5</c:f>
              <c:numCache>
                <c:formatCode>0%</c:formatCode>
                <c:ptCount val="4"/>
                <c:pt idx="0">
                  <c:v>0.28999999999999998</c:v>
                </c:pt>
                <c:pt idx="1">
                  <c:v>0.54999999999999993</c:v>
                </c:pt>
                <c:pt idx="2">
                  <c:v>0.67999999999999994</c:v>
                </c:pt>
                <c:pt idx="3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535-40F9-8ED0-CB6DDCEB4A1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(te)lang</c:v>
                </c:pt>
              </c:strCache>
            </c:strRef>
          </c:tx>
          <c:spPr>
            <a:solidFill>
              <a:srgbClr val="EC6533"/>
            </a:solidFill>
            <a:ln>
              <a:solidFill>
                <a:srgbClr val="EC6533"/>
              </a:solidFill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anger dan 6 dagen</c:v>
                </c:pt>
                <c:pt idx="1">
                  <c:v>4 tot 6 dagen</c:v>
                </c:pt>
                <c:pt idx="2">
                  <c:v>1 tot 3 dagen</c:v>
                </c:pt>
                <c:pt idx="3">
                  <c:v>korter dan 1 dag</c:v>
                </c:pt>
              </c:strCache>
            </c:strRef>
          </c:cat>
          <c:val>
            <c:numRef>
              <c:f>Sheet1!$D$2:$D$5</c:f>
              <c:numCache>
                <c:formatCode>0%</c:formatCode>
                <c:ptCount val="4"/>
                <c:pt idx="0">
                  <c:v>0.55000000000000004</c:v>
                </c:pt>
                <c:pt idx="1">
                  <c:v>0.37</c:v>
                </c:pt>
                <c:pt idx="2">
                  <c:v>0.22000000000000003</c:v>
                </c:pt>
                <c:pt idx="3">
                  <c:v>7.9999999999999905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535-40F9-8ED0-CB6DDCEB4A10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weet ik niet</c:v>
                </c:pt>
              </c:strCache>
            </c:strRef>
          </c:tx>
          <c:spPr>
            <a:solidFill>
              <a:srgbClr val="5D5C56"/>
            </a:solidFill>
            <a:ln>
              <a:solidFill>
                <a:srgbClr val="5D5C56"/>
              </a:solidFill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langer dan 6 dagen</c:v>
                </c:pt>
                <c:pt idx="1">
                  <c:v>4 tot 6 dagen</c:v>
                </c:pt>
                <c:pt idx="2">
                  <c:v>1 tot 3 dagen</c:v>
                </c:pt>
                <c:pt idx="3">
                  <c:v>korter dan 1 dag</c:v>
                </c:pt>
              </c:strCache>
            </c:strRef>
          </c:cat>
          <c:val>
            <c:numRef>
              <c:f>Sheet1!$E$2:$E$5</c:f>
              <c:numCache>
                <c:formatCode>0%</c:formatCode>
                <c:ptCount val="4"/>
                <c:pt idx="0">
                  <c:v>0.14999999999999997</c:v>
                </c:pt>
                <c:pt idx="1">
                  <c:v>5.0000000000000072E-2</c:v>
                </c:pt>
                <c:pt idx="2">
                  <c:v>5.0000000000000086E-2</c:v>
                </c:pt>
                <c:pt idx="3">
                  <c:v>5.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172-45BB-803A-9397C90F24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137377727"/>
        <c:axId val="1137376479"/>
      </c:barChart>
      <c:catAx>
        <c:axId val="113737772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accent5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1137376479"/>
        <c:crosses val="autoZero"/>
        <c:auto val="1"/>
        <c:lblAlgn val="ctr"/>
        <c:lblOffset val="100"/>
        <c:noMultiLvlLbl val="0"/>
      </c:catAx>
      <c:valAx>
        <c:axId val="1137376479"/>
        <c:scaling>
          <c:orientation val="minMax"/>
          <c:max val="1"/>
          <c:min val="0"/>
        </c:scaling>
        <c:delete val="0"/>
        <c:axPos val="b"/>
        <c:majorGridlines>
          <c:spPr>
            <a:ln w="9525" cap="flat" cmpd="sng" algn="ctr">
              <a:solidFill>
                <a:schemeClr val="accent5">
                  <a:lumMod val="20000"/>
                  <a:lumOff val="80000"/>
                </a:schemeClr>
              </a:solidFill>
              <a:round/>
            </a:ln>
            <a:effectLst/>
          </c:spPr>
        </c:majorGridlines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113737772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l-N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nl-NL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Sheet1!$C$5</c:f>
              <c:strCache>
                <c:ptCount val="1"/>
                <c:pt idx="0">
                  <c:v>Apno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l-N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D$4:$L$4</c:f>
              <c:numCache>
                <c:formatCode>General</c:formatCode>
                <c:ptCount val="9"/>
                <c:pt idx="0">
                  <c:v>-8</c:v>
                </c:pt>
                <c:pt idx="1">
                  <c:v>-7</c:v>
                </c:pt>
                <c:pt idx="2">
                  <c:v>-6</c:v>
                </c:pt>
                <c:pt idx="3">
                  <c:v>-5</c:v>
                </c:pt>
                <c:pt idx="4">
                  <c:v>-4</c:v>
                </c:pt>
                <c:pt idx="5">
                  <c:v>-3</c:v>
                </c:pt>
                <c:pt idx="6">
                  <c:v>-2</c:v>
                </c:pt>
                <c:pt idx="7">
                  <c:v>-1</c:v>
                </c:pt>
                <c:pt idx="8">
                  <c:v>0</c:v>
                </c:pt>
              </c:numCache>
            </c:numRef>
          </c:cat>
          <c:val>
            <c:numRef>
              <c:f>Sheet1!$D$5:$L$5</c:f>
              <c:numCache>
                <c:formatCode>General</c:formatCode>
                <c:ptCount val="9"/>
                <c:pt idx="0">
                  <c:v>0.1</c:v>
                </c:pt>
                <c:pt idx="1">
                  <c:v>1.6</c:v>
                </c:pt>
                <c:pt idx="2">
                  <c:v>2.5</c:v>
                </c:pt>
                <c:pt idx="3">
                  <c:v>2.6</c:v>
                </c:pt>
                <c:pt idx="4">
                  <c:v>3.5</c:v>
                </c:pt>
                <c:pt idx="5">
                  <c:v>6</c:v>
                </c:pt>
                <c:pt idx="6">
                  <c:v>10.5</c:v>
                </c:pt>
                <c:pt idx="7">
                  <c:v>17.8</c:v>
                </c:pt>
                <c:pt idx="8">
                  <c:v>29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2E0-445C-A9B1-5F9CEDF2B2B6}"/>
            </c:ext>
          </c:extLst>
        </c:ser>
        <c:ser>
          <c:idx val="2"/>
          <c:order val="2"/>
          <c:tx>
            <c:strRef>
              <c:f>Sheet1!$C$6</c:f>
              <c:strCache>
                <c:ptCount val="1"/>
                <c:pt idx="0">
                  <c:v>Reutelen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l-N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D$4:$L$4</c:f>
              <c:numCache>
                <c:formatCode>General</c:formatCode>
                <c:ptCount val="9"/>
                <c:pt idx="0">
                  <c:v>-8</c:v>
                </c:pt>
                <c:pt idx="1">
                  <c:v>-7</c:v>
                </c:pt>
                <c:pt idx="2">
                  <c:v>-6</c:v>
                </c:pt>
                <c:pt idx="3">
                  <c:v>-5</c:v>
                </c:pt>
                <c:pt idx="4">
                  <c:v>-4</c:v>
                </c:pt>
                <c:pt idx="5">
                  <c:v>-3</c:v>
                </c:pt>
                <c:pt idx="6">
                  <c:v>-2</c:v>
                </c:pt>
                <c:pt idx="7">
                  <c:v>-1</c:v>
                </c:pt>
                <c:pt idx="8">
                  <c:v>0</c:v>
                </c:pt>
              </c:numCache>
            </c:numRef>
          </c:cat>
          <c:val>
            <c:numRef>
              <c:f>Sheet1!$D$6:$L$6</c:f>
              <c:numCache>
                <c:formatCode>General</c:formatCode>
                <c:ptCount val="9"/>
                <c:pt idx="0">
                  <c:v>0.9</c:v>
                </c:pt>
                <c:pt idx="1">
                  <c:v>1.3</c:v>
                </c:pt>
                <c:pt idx="2">
                  <c:v>1.9</c:v>
                </c:pt>
                <c:pt idx="3">
                  <c:v>3.5</c:v>
                </c:pt>
                <c:pt idx="4">
                  <c:v>5.0999999999999996</c:v>
                </c:pt>
                <c:pt idx="5">
                  <c:v>9.1</c:v>
                </c:pt>
                <c:pt idx="6">
                  <c:v>15.2</c:v>
                </c:pt>
                <c:pt idx="7">
                  <c:v>29.1</c:v>
                </c:pt>
                <c:pt idx="8">
                  <c:v>47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2E0-445C-A9B1-5F9CEDF2B2B6}"/>
            </c:ext>
          </c:extLst>
        </c:ser>
        <c:ser>
          <c:idx val="3"/>
          <c:order val="3"/>
          <c:tx>
            <c:strRef>
              <c:f>Sheet1!$C$7</c:f>
              <c:strCache>
                <c:ptCount val="1"/>
                <c:pt idx="0">
                  <c:v>Anuri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l-N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D$4:$L$4</c:f>
              <c:numCache>
                <c:formatCode>General</c:formatCode>
                <c:ptCount val="9"/>
                <c:pt idx="0">
                  <c:v>-8</c:v>
                </c:pt>
                <c:pt idx="1">
                  <c:v>-7</c:v>
                </c:pt>
                <c:pt idx="2">
                  <c:v>-6</c:v>
                </c:pt>
                <c:pt idx="3">
                  <c:v>-5</c:v>
                </c:pt>
                <c:pt idx="4">
                  <c:v>-4</c:v>
                </c:pt>
                <c:pt idx="5">
                  <c:v>-3</c:v>
                </c:pt>
                <c:pt idx="6">
                  <c:v>-2</c:v>
                </c:pt>
                <c:pt idx="7">
                  <c:v>-1</c:v>
                </c:pt>
                <c:pt idx="8">
                  <c:v>0</c:v>
                </c:pt>
              </c:numCache>
            </c:numRef>
          </c:cat>
          <c:val>
            <c:numRef>
              <c:f>Sheet1!$D$7:$L$7</c:f>
              <c:numCache>
                <c:formatCode>General</c:formatCode>
                <c:ptCount val="9"/>
                <c:pt idx="0">
                  <c:v>2.2999999999999998</c:v>
                </c:pt>
                <c:pt idx="1">
                  <c:v>2.2000000000000002</c:v>
                </c:pt>
                <c:pt idx="2">
                  <c:v>3.2</c:v>
                </c:pt>
                <c:pt idx="3">
                  <c:v>3.6</c:v>
                </c:pt>
                <c:pt idx="4">
                  <c:v>4.5</c:v>
                </c:pt>
                <c:pt idx="5">
                  <c:v>7.3</c:v>
                </c:pt>
                <c:pt idx="6">
                  <c:v>14.2</c:v>
                </c:pt>
                <c:pt idx="7">
                  <c:v>31.1</c:v>
                </c:pt>
                <c:pt idx="8">
                  <c:v>47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2E0-445C-A9B1-5F9CEDF2B2B6}"/>
            </c:ext>
          </c:extLst>
        </c:ser>
        <c:ser>
          <c:idx val="4"/>
          <c:order val="4"/>
          <c:tx>
            <c:strRef>
              <c:f>Sheet1!$C$8</c:f>
              <c:strCache>
                <c:ptCount val="1"/>
                <c:pt idx="0">
                  <c:v>Somnolentie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7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nl-N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D$4:$L$4</c:f>
              <c:numCache>
                <c:formatCode>General</c:formatCode>
                <c:ptCount val="9"/>
                <c:pt idx="0">
                  <c:v>-8</c:v>
                </c:pt>
                <c:pt idx="1">
                  <c:v>-7</c:v>
                </c:pt>
                <c:pt idx="2">
                  <c:v>-6</c:v>
                </c:pt>
                <c:pt idx="3">
                  <c:v>-5</c:v>
                </c:pt>
                <c:pt idx="4">
                  <c:v>-4</c:v>
                </c:pt>
                <c:pt idx="5">
                  <c:v>-3</c:v>
                </c:pt>
                <c:pt idx="6">
                  <c:v>-2</c:v>
                </c:pt>
                <c:pt idx="7">
                  <c:v>-1</c:v>
                </c:pt>
                <c:pt idx="8">
                  <c:v>0</c:v>
                </c:pt>
              </c:numCache>
            </c:numRef>
          </c:cat>
          <c:val>
            <c:numRef>
              <c:f>Sheet1!$D$8:$L$8</c:f>
              <c:numCache>
                <c:formatCode>General</c:formatCode>
                <c:ptCount val="9"/>
                <c:pt idx="0">
                  <c:v>5.7</c:v>
                </c:pt>
                <c:pt idx="1">
                  <c:v>7.3</c:v>
                </c:pt>
                <c:pt idx="2">
                  <c:v>9.3000000000000007</c:v>
                </c:pt>
                <c:pt idx="3">
                  <c:v>12.7</c:v>
                </c:pt>
                <c:pt idx="4">
                  <c:v>17.399999999999999</c:v>
                </c:pt>
                <c:pt idx="5">
                  <c:v>23.9</c:v>
                </c:pt>
                <c:pt idx="6">
                  <c:v>36.200000000000003</c:v>
                </c:pt>
                <c:pt idx="7">
                  <c:v>57.2</c:v>
                </c:pt>
                <c:pt idx="8">
                  <c:v>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2E0-445C-A9B1-5F9CEDF2B2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78185792"/>
        <c:axId val="128052656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Sheet1!$C$4</c15:sqref>
                        </c15:formulaRef>
                      </c:ext>
                    </c:extLst>
                    <c:strCache>
                      <c:ptCount val="1"/>
                      <c:pt idx="0">
                        <c:v>Dag(en) voor overlijden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cat>
                  <c:numRef>
                    <c:extLst>
                      <c:ext uri="{02D57815-91ED-43cb-92C2-25804820EDAC}">
                        <c15:formulaRef>
                          <c15:sqref>Sheet1!$D$4:$L$4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-8</c:v>
                      </c:pt>
                      <c:pt idx="1">
                        <c:v>-7</c:v>
                      </c:pt>
                      <c:pt idx="2">
                        <c:v>-6</c:v>
                      </c:pt>
                      <c:pt idx="3">
                        <c:v>-5</c:v>
                      </c:pt>
                      <c:pt idx="4">
                        <c:v>-4</c:v>
                      </c:pt>
                      <c:pt idx="5">
                        <c:v>-3</c:v>
                      </c:pt>
                      <c:pt idx="6">
                        <c:v>-2</c:v>
                      </c:pt>
                      <c:pt idx="7">
                        <c:v>-1</c:v>
                      </c:pt>
                      <c:pt idx="8">
                        <c:v>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Sheet1!$D$4:$L$4</c15:sqref>
                        </c15:formulaRef>
                      </c:ext>
                    </c:extLst>
                    <c:numCache>
                      <c:formatCode>General</c:formatCode>
                      <c:ptCount val="9"/>
                      <c:pt idx="0">
                        <c:v>-8</c:v>
                      </c:pt>
                      <c:pt idx="1">
                        <c:v>-7</c:v>
                      </c:pt>
                      <c:pt idx="2">
                        <c:v>-6</c:v>
                      </c:pt>
                      <c:pt idx="3">
                        <c:v>-5</c:v>
                      </c:pt>
                      <c:pt idx="4">
                        <c:v>-4</c:v>
                      </c:pt>
                      <c:pt idx="5">
                        <c:v>-3</c:v>
                      </c:pt>
                      <c:pt idx="6">
                        <c:v>-2</c:v>
                      </c:pt>
                      <c:pt idx="7">
                        <c:v>-1</c:v>
                      </c:pt>
                      <c:pt idx="8">
                        <c:v>0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4-12E0-445C-A9B1-5F9CEDF2B2B6}"/>
                  </c:ext>
                </c:extLst>
              </c15:ser>
            </c15:filteredBarSeries>
          </c:ext>
        </c:extLst>
      </c:barChart>
      <c:catAx>
        <c:axId val="178185792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b="1" dirty="0"/>
                  <a:t>Dag(</a:t>
                </a:r>
                <a:r>
                  <a:rPr lang="en-US" sz="1400" b="1" dirty="0" err="1"/>
                  <a:t>en</a:t>
                </a:r>
                <a:r>
                  <a:rPr lang="en-US" sz="1400" b="1" dirty="0"/>
                  <a:t>) </a:t>
                </a:r>
                <a:r>
                  <a:rPr lang="en-US" sz="1400" b="1" dirty="0" err="1"/>
                  <a:t>voor</a:t>
                </a:r>
                <a:r>
                  <a:rPr lang="en-US" sz="1400" b="1" dirty="0"/>
                  <a:t> </a:t>
                </a:r>
                <a:r>
                  <a:rPr lang="en-US" sz="1400" b="1" dirty="0" err="1"/>
                  <a:t>overlijden</a:t>
                </a:r>
                <a:endParaRPr lang="en-US" sz="1400" b="1" dirty="0"/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l-NL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accent5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128052656"/>
        <c:crosses val="autoZero"/>
        <c:auto val="1"/>
        <c:lblAlgn val="ctr"/>
        <c:lblOffset val="100"/>
        <c:noMultiLvlLbl val="0"/>
      </c:catAx>
      <c:valAx>
        <c:axId val="1280526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accent5">
                  <a:lumMod val="20000"/>
                  <a:lumOff val="80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dirty="0"/>
                  <a:t>(% </a:t>
                </a:r>
                <a:r>
                  <a:rPr lang="en-US" dirty="0" err="1"/>
                  <a:t>patiënten</a:t>
                </a:r>
                <a:r>
                  <a:rPr lang="en-US" dirty="0"/>
                  <a:t>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nl-NL"/>
            </a:p>
          </c:txPr>
        </c:title>
        <c:numFmt formatCode="General" sourceLinked="1"/>
        <c:majorTickMark val="in"/>
        <c:minorTickMark val="none"/>
        <c:tickLblPos val="nextTo"/>
        <c:spPr>
          <a:noFill/>
          <a:ln>
            <a:solidFill>
              <a:schemeClr val="accent5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1781857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nl-NL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nl-NL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0"/>
          <c:w val="0.92177777777777781"/>
          <c:h val="0.8562439380967685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  <a:ln w="0">
              <a:noFill/>
            </a:ln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3E1E49F3-5C4C-46D4-B8DA-3D599E4E3F64}" type="CELLRANGE">
                      <a:rPr lang="nl-NL"/>
                      <a:pPr/>
                      <a:t>[CELLRANGE]</a:t>
                    </a:fld>
                    <a:endParaRPr lang="nl-NL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1"/>
              <c:separator>; 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4-1056-4A1B-A770-97447CA8576F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7A020F50-F6C7-4D31-B857-4C3D32AF470B}" type="CELLRANGE">
                      <a:rPr lang="nl-NL"/>
                      <a:pPr/>
                      <a:t>[CELLRANGE]</a:t>
                    </a:fld>
                    <a:endParaRPr lang="nl-NL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0"/>
              <c:showBubbleSize val="1"/>
              <c:separator>; 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5-1056-4A1B-A770-97447CA8576F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pPr>
                      <a:defRPr sz="1200" b="1"/>
                    </a:pPr>
                    <a:fld id="{272B25C1-8BD6-402D-AB0A-CFE8D53A9277}" type="CELLRANGE">
                      <a:rPr lang="nl-NL"/>
                      <a:pPr>
                        <a:defRPr sz="1200" b="1"/>
                      </a:pPr>
                      <a:t>[CELLRANGE]</a:t>
                    </a:fld>
                    <a:endParaRPr lang="nl-NL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outEnd"/>
              <c:showLegendKey val="0"/>
              <c:showVal val="0"/>
              <c:showCatName val="0"/>
              <c:showSerName val="0"/>
              <c:showPercent val="0"/>
              <c:showBubbleSize val="1"/>
              <c:separator>; </c:separator>
              <c:extLst>
                <c:ext xmlns:c15="http://schemas.microsoft.com/office/drawing/2012/chart" uri="{CE6537A1-D6FC-4f65-9D91-7224C49458BB}">
                  <c15:dlblFieldTable/>
                  <c15:xForSave val="1"/>
                  <c15:showDataLabelsRange val="1"/>
                </c:ext>
                <c:ext xmlns:c16="http://schemas.microsoft.com/office/drawing/2014/chart" uri="{C3380CC4-5D6E-409C-BE32-E72D297353CC}">
                  <c16:uniqueId val="{00000006-1056-4A1B-A770-97447CA8576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b="1"/>
                </a:pPr>
                <a:endParaRPr lang="nl-NL"/>
              </a:p>
            </c:txPr>
            <c:dLblPos val="outEnd"/>
            <c:showLegendKey val="0"/>
            <c:showVal val="0"/>
            <c:showCatName val="0"/>
            <c:showSerName val="0"/>
            <c:showPercent val="0"/>
            <c:showBubbleSize val="1"/>
            <c:separator>; </c:separator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05</c:v>
                </c:pt>
                <c:pt idx="1">
                  <c:v>2010</c:v>
                </c:pt>
                <c:pt idx="2">
                  <c:v>2015</c:v>
                </c:pt>
              </c:numCache>
            </c:numRef>
          </c:cat>
          <c:val>
            <c:numRef>
              <c:f>Sheet1!$B$2:$B$4</c:f>
              <c:numCache>
                <c:formatCode>0%</c:formatCode>
                <c:ptCount val="3"/>
                <c:pt idx="0">
                  <c:v>0.08</c:v>
                </c:pt>
                <c:pt idx="1">
                  <c:v>0.12</c:v>
                </c:pt>
                <c:pt idx="2">
                  <c:v>0.18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B$2:$B$4</c15:f>
                <c15:dlblRangeCache>
                  <c:ptCount val="3"/>
                  <c:pt idx="0">
                    <c:v>8%</c:v>
                  </c:pt>
                  <c:pt idx="1">
                    <c:v>12%</c:v>
                  </c:pt>
                  <c:pt idx="2">
                    <c:v>18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0-1056-4A1B-A770-97447CA857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2302993"/>
        <c:axId val="29038852"/>
      </c:barChart>
      <c:catAx>
        <c:axId val="82302993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6350">
            <a:solidFill>
              <a:schemeClr val="accent5"/>
            </a:solidFill>
            <a:round/>
          </a:ln>
        </c:spPr>
        <c:crossAx val="29038852"/>
        <c:crosses val="autoZero"/>
        <c:auto val="1"/>
        <c:lblAlgn val="ctr"/>
        <c:lblOffset val="100"/>
        <c:noMultiLvlLbl val="0"/>
      </c:catAx>
      <c:valAx>
        <c:axId val="29038852"/>
        <c:scaling>
          <c:orientation val="minMax"/>
        </c:scaling>
        <c:delete val="1"/>
        <c:axPos val="l"/>
        <c:numFmt formatCode="0%" sourceLinked="0"/>
        <c:majorTickMark val="in"/>
        <c:minorTickMark val="none"/>
        <c:tickLblPos val="nextTo"/>
        <c:crossAx val="82302993"/>
        <c:crosses val="autoZero"/>
        <c:crossBetween val="between"/>
      </c:valAx>
      <c:spPr>
        <a:noFill/>
        <a:ln w="0">
          <a:noFill/>
        </a:ln>
      </c:spPr>
    </c:plotArea>
    <c:plotVisOnly val="1"/>
    <c:dispBlanksAs val="gap"/>
    <c:showDLblsOverMax val="1"/>
  </c:chart>
  <c:spPr>
    <a:noFill/>
    <a:ln w="9360">
      <a:noFill/>
    </a:ln>
  </c:spPr>
  <c:txPr>
    <a:bodyPr/>
    <a:lstStyle/>
    <a:p>
      <a:pPr>
        <a:defRPr sz="1000" b="0">
          <a:solidFill>
            <a:srgbClr val="484240"/>
          </a:solidFill>
        </a:defRPr>
      </a:pPr>
      <a:endParaRPr lang="nl-NL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l-NL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specialist ouderengeneeskunde</c:v>
                </c:pt>
                <c:pt idx="1">
                  <c:v>medisch specialist</c:v>
                </c:pt>
                <c:pt idx="2">
                  <c:v>huisarts</c:v>
                </c:pt>
              </c:strCache>
            </c:strRef>
          </c:cat>
          <c:val>
            <c:numRef>
              <c:f>Sheet1!$B$2:$B$4</c:f>
              <c:numCache>
                <c:formatCode>0</c:formatCode>
                <c:ptCount val="3"/>
                <c:pt idx="0">
                  <c:v>0.21</c:v>
                </c:pt>
                <c:pt idx="1">
                  <c:v>0.24</c:v>
                </c:pt>
                <c:pt idx="2">
                  <c:v>0.550000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212-4256-8110-A1E11C9172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137377727"/>
        <c:axId val="1137376479"/>
      </c:barChart>
      <c:catAx>
        <c:axId val="113737772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accent5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1137376479"/>
        <c:crosses val="autoZero"/>
        <c:auto val="1"/>
        <c:lblAlgn val="ctr"/>
        <c:lblOffset val="100"/>
        <c:noMultiLvlLbl val="0"/>
      </c:catAx>
      <c:valAx>
        <c:axId val="1137376479"/>
        <c:scaling>
          <c:orientation val="minMax"/>
        </c:scaling>
        <c:delete val="1"/>
        <c:axPos val="b"/>
        <c:numFmt formatCode="0" sourceLinked="1"/>
        <c:majorTickMark val="none"/>
        <c:minorTickMark val="none"/>
        <c:tickLblPos val="nextTo"/>
        <c:crossAx val="113737772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nl-NL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l-NL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hart en vaat</c:v>
                </c:pt>
                <c:pt idx="1">
                  <c:v>overige</c:v>
                </c:pt>
                <c:pt idx="2">
                  <c:v>kanker</c:v>
                </c:pt>
              </c:strCache>
            </c:strRef>
          </c:cat>
          <c:val>
            <c:numRef>
              <c:f>Sheet1!$B$2:$B$4</c:f>
              <c:numCache>
                <c:formatCode>0</c:formatCode>
                <c:ptCount val="3"/>
                <c:pt idx="0">
                  <c:v>0.11</c:v>
                </c:pt>
                <c:pt idx="1">
                  <c:v>0.42</c:v>
                </c:pt>
                <c:pt idx="2">
                  <c:v>0.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212-4256-8110-A1E11C9172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137377727"/>
        <c:axId val="1137376479"/>
      </c:barChart>
      <c:catAx>
        <c:axId val="113737772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accent5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1137376479"/>
        <c:crosses val="autoZero"/>
        <c:auto val="1"/>
        <c:lblAlgn val="ctr"/>
        <c:lblOffset val="100"/>
        <c:noMultiLvlLbl val="0"/>
      </c:catAx>
      <c:valAx>
        <c:axId val="1137376479"/>
        <c:scaling>
          <c:orientation val="minMax"/>
        </c:scaling>
        <c:delete val="1"/>
        <c:axPos val="b"/>
        <c:numFmt formatCode="0" sourceLinked="1"/>
        <c:majorTickMark val="out"/>
        <c:minorTickMark val="none"/>
        <c:tickLblPos val="nextTo"/>
        <c:crossAx val="113737772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nl-NL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911111111111111E-2"/>
          <c:y val="3.9734797955520922E-2"/>
          <c:w val="0.92177777777777781"/>
          <c:h val="0.8562439380967685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  <a:ln w="0">
              <a:noFill/>
            </a:ln>
          </c:spPr>
          <c:invertIfNegative val="0"/>
          <c:cat>
            <c:numRef>
              <c:f>Sheet1!$A$2:$A$11</c:f>
              <c:numCache>
                <c:formatCode>General</c:formatCode>
                <c:ptCount val="10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</c:numCache>
            </c:numRef>
          </c:cat>
          <c:val>
            <c:numRef>
              <c:f>Sheet1!$B$2:$B$11</c:f>
              <c:numCache>
                <c:formatCode>0</c:formatCode>
                <c:ptCount val="10"/>
                <c:pt idx="0">
                  <c:v>11000</c:v>
                </c:pt>
                <c:pt idx="1">
                  <c:v>12000</c:v>
                </c:pt>
                <c:pt idx="2">
                  <c:v>13500</c:v>
                </c:pt>
                <c:pt idx="3">
                  <c:v>15000</c:v>
                </c:pt>
                <c:pt idx="4">
                  <c:v>17500</c:v>
                </c:pt>
                <c:pt idx="5">
                  <c:v>20000</c:v>
                </c:pt>
                <c:pt idx="6">
                  <c:v>22000</c:v>
                </c:pt>
                <c:pt idx="7">
                  <c:v>24000</c:v>
                </c:pt>
                <c:pt idx="8">
                  <c:v>29000</c:v>
                </c:pt>
                <c:pt idx="9">
                  <c:v>325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C1B4-486F-86A9-718CBFA0EE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2302993"/>
        <c:axId val="29038852"/>
      </c:barChart>
      <c:catAx>
        <c:axId val="82302993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6350">
            <a:solidFill>
              <a:schemeClr val="accent5"/>
            </a:solidFill>
            <a:round/>
          </a:ln>
        </c:spPr>
        <c:crossAx val="29038852"/>
        <c:crosses val="autoZero"/>
        <c:auto val="1"/>
        <c:lblAlgn val="ctr"/>
        <c:lblOffset val="100"/>
        <c:noMultiLvlLbl val="0"/>
      </c:catAx>
      <c:valAx>
        <c:axId val="29038852"/>
        <c:scaling>
          <c:orientation val="minMax"/>
        </c:scaling>
        <c:delete val="0"/>
        <c:axPos val="l"/>
        <c:majorGridlines>
          <c:spPr>
            <a:ln>
              <a:solidFill>
                <a:schemeClr val="accent5">
                  <a:lumMod val="20000"/>
                  <a:lumOff val="80000"/>
                </a:scheme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crossAx val="82302993"/>
        <c:crosses val="autoZero"/>
        <c:crossBetween val="between"/>
      </c:valAx>
      <c:spPr>
        <a:noFill/>
        <a:ln w="0">
          <a:noFill/>
        </a:ln>
      </c:spPr>
    </c:plotArea>
    <c:plotVisOnly val="1"/>
    <c:dispBlanksAs val="gap"/>
    <c:showDLblsOverMax val="1"/>
  </c:chart>
  <c:spPr>
    <a:noFill/>
    <a:ln w="9360">
      <a:noFill/>
    </a:ln>
  </c:spPr>
  <c:txPr>
    <a:bodyPr/>
    <a:lstStyle/>
    <a:p>
      <a:pPr>
        <a:defRPr sz="1000" b="0">
          <a:solidFill>
            <a:srgbClr val="484240"/>
          </a:solidFill>
        </a:defRPr>
      </a:pPr>
      <a:endParaRPr lang="nl-NL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911111111111111E-2"/>
          <c:y val="3.9734797955520922E-2"/>
          <c:w val="0.92177777777777781"/>
          <c:h val="0.8562439380967685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5D5C56"/>
            </a:solidFill>
            <a:ln w="0">
              <a:noFill/>
            </a:ln>
          </c:spPr>
          <c:invertIfNegative val="0"/>
          <c:dLbls>
            <c:dLbl>
              <c:idx val="1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 wrap="square" lIns="38100" tIns="19050" rIns="38100" bIns="19050" anchor="ctr">
                  <a:spAutoFit/>
                </a:bodyPr>
                <a:lstStyle/>
                <a:p>
                  <a:pPr>
                    <a:defRPr sz="1200" b="1"/>
                  </a:pPr>
                  <a:endParaRPr lang="nl-NL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CB00-464C-BA87-4DD4F88C0FE1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/>
                </a:pPr>
                <a:endParaRPr lang="nl-NL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  <c:pt idx="0">
                  <c:v>2010</c:v>
                </c:pt>
                <c:pt idx="1">
                  <c:v>2016</c:v>
                </c:pt>
              </c:numCache>
            </c:numRef>
          </c:cat>
          <c:val>
            <c:numRef>
              <c:f>Sheet1!$B$2:$B$3</c:f>
              <c:numCache>
                <c:formatCode>0</c:formatCode>
                <c:ptCount val="2"/>
                <c:pt idx="0">
                  <c:v>0.11</c:v>
                </c:pt>
                <c:pt idx="1">
                  <c:v>0.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B00-464C-BA87-4DD4F88C0FE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2302993"/>
        <c:axId val="29038852"/>
      </c:barChart>
      <c:catAx>
        <c:axId val="82302993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6350">
            <a:solidFill>
              <a:schemeClr val="accent5"/>
            </a:solidFill>
            <a:round/>
          </a:ln>
        </c:spPr>
        <c:crossAx val="29038852"/>
        <c:crosses val="autoZero"/>
        <c:auto val="1"/>
        <c:lblAlgn val="ctr"/>
        <c:lblOffset val="100"/>
        <c:noMultiLvlLbl val="0"/>
      </c:catAx>
      <c:valAx>
        <c:axId val="29038852"/>
        <c:scaling>
          <c:orientation val="minMax"/>
        </c:scaling>
        <c:delete val="1"/>
        <c:axPos val="l"/>
        <c:numFmt formatCode="#,##0" sourceLinked="0"/>
        <c:majorTickMark val="out"/>
        <c:minorTickMark val="none"/>
        <c:tickLblPos val="nextTo"/>
        <c:crossAx val="82302993"/>
        <c:crosses val="autoZero"/>
        <c:crossBetween val="between"/>
      </c:valAx>
      <c:spPr>
        <a:noFill/>
        <a:ln w="0">
          <a:noFill/>
        </a:ln>
      </c:spPr>
    </c:plotArea>
    <c:plotVisOnly val="1"/>
    <c:dispBlanksAs val="gap"/>
    <c:showDLblsOverMax val="1"/>
  </c:chart>
  <c:spPr>
    <a:noFill/>
    <a:ln w="9360">
      <a:noFill/>
    </a:ln>
  </c:spPr>
  <c:txPr>
    <a:bodyPr/>
    <a:lstStyle/>
    <a:p>
      <a:pPr>
        <a:defRPr sz="1000" b="0">
          <a:solidFill>
            <a:srgbClr val="484240"/>
          </a:solidFill>
        </a:defRPr>
      </a:pPr>
      <a:endParaRPr lang="nl-NL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nl-NL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7</c:f>
              <c:strCache>
                <c:ptCount val="6"/>
                <c:pt idx="0">
                  <c:v>braken</c:v>
                </c:pt>
                <c:pt idx="1">
                  <c:v>delier</c:v>
                </c:pt>
                <c:pt idx="2">
                  <c:v>angst</c:v>
                </c:pt>
                <c:pt idx="3">
                  <c:v>uitputting</c:v>
                </c:pt>
                <c:pt idx="4">
                  <c:v>pijn</c:v>
                </c:pt>
                <c:pt idx="5">
                  <c:v>dyspnoe</c:v>
                </c:pt>
              </c:strCache>
            </c:strRef>
          </c:cat>
          <c:val>
            <c:numRef>
              <c:f>Sheet1!$B$2:$B$7</c:f>
              <c:numCache>
                <c:formatCode>0%</c:formatCode>
                <c:ptCount val="6"/>
                <c:pt idx="0">
                  <c:v>0.1</c:v>
                </c:pt>
                <c:pt idx="1">
                  <c:v>0.21</c:v>
                </c:pt>
                <c:pt idx="2">
                  <c:v>0.46</c:v>
                </c:pt>
                <c:pt idx="3">
                  <c:v>0.56000000000000005</c:v>
                </c:pt>
                <c:pt idx="4">
                  <c:v>0.56000000000000005</c:v>
                </c:pt>
                <c:pt idx="5">
                  <c:v>0.57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798-4C11-974F-99123373D3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137377727"/>
        <c:axId val="1137376479"/>
      </c:barChart>
      <c:catAx>
        <c:axId val="113737772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6350" cap="flat" cmpd="sng" algn="ctr">
            <a:solidFill>
              <a:schemeClr val="accent5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nl-NL"/>
          </a:p>
        </c:txPr>
        <c:crossAx val="1137376479"/>
        <c:crosses val="autoZero"/>
        <c:auto val="1"/>
        <c:lblAlgn val="ctr"/>
        <c:lblOffset val="100"/>
        <c:noMultiLvlLbl val="0"/>
      </c:catAx>
      <c:valAx>
        <c:axId val="1137376479"/>
        <c:scaling>
          <c:orientation val="minMax"/>
          <c:max val="0.60000000000000009"/>
        </c:scaling>
        <c:delete val="1"/>
        <c:axPos val="b"/>
        <c:numFmt formatCode="0%" sourceLinked="1"/>
        <c:majorTickMark val="out"/>
        <c:minorTickMark val="none"/>
        <c:tickLblPos val="nextTo"/>
        <c:crossAx val="113737772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/>
      </a:pPr>
      <a:endParaRPr lang="nl-NL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l-NL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911111111111111E-2"/>
          <c:y val="3.9734797955520922E-2"/>
          <c:w val="0.92177777777777781"/>
          <c:h val="0.8562439380967685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rgbClr val="5D5C56"/>
            </a:solidFill>
            <a:ln w="0"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 w="0">
                <a:noFill/>
              </a:ln>
            </c:spPr>
            <c:extLst>
              <c:ext xmlns:c16="http://schemas.microsoft.com/office/drawing/2014/chart" uri="{C3380CC4-5D6E-409C-BE32-E72D297353CC}">
                <c16:uniqueId val="{00000001-AB8B-4169-AAC5-B70B98299B9F}"/>
              </c:ext>
            </c:extLst>
          </c:dPt>
          <c:cat>
            <c:strRef>
              <c:f>Sheet1!$A$2:$A$3</c:f>
              <c:strCache>
                <c:ptCount val="2"/>
                <c:pt idx="0">
                  <c:v>Besproken met patiënt</c:v>
                </c:pt>
                <c:pt idx="1">
                  <c:v>Op verzoek van patiënt</c:v>
                </c:pt>
              </c:strCache>
            </c:strRef>
          </c:cat>
          <c:val>
            <c:numRef>
              <c:f>Sheet1!$B$2:$B$3</c:f>
              <c:numCache>
                <c:formatCode>0</c:formatCode>
                <c:ptCount val="2"/>
                <c:pt idx="0">
                  <c:v>58</c:v>
                </c:pt>
                <c:pt idx="1">
                  <c:v>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B8B-4169-AAC5-B70B98299B9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82302993"/>
        <c:axId val="29038852"/>
      </c:barChart>
      <c:catAx>
        <c:axId val="82302993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ln w="6350">
            <a:solidFill>
              <a:schemeClr val="accent5"/>
            </a:solidFill>
            <a:round/>
          </a:ln>
        </c:spPr>
        <c:crossAx val="29038852"/>
        <c:crosses val="autoZero"/>
        <c:auto val="1"/>
        <c:lblAlgn val="ctr"/>
        <c:lblOffset val="100"/>
        <c:noMultiLvlLbl val="0"/>
      </c:catAx>
      <c:valAx>
        <c:axId val="29038852"/>
        <c:scaling>
          <c:orientation val="minMax"/>
        </c:scaling>
        <c:delete val="0"/>
        <c:axPos val="l"/>
        <c:majorGridlines>
          <c:spPr>
            <a:ln>
              <a:solidFill>
                <a:schemeClr val="accent5">
                  <a:lumMod val="20000"/>
                  <a:lumOff val="80000"/>
                </a:scheme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crossAx val="82302993"/>
        <c:crosses val="autoZero"/>
        <c:crossBetween val="between"/>
      </c:valAx>
      <c:spPr>
        <a:noFill/>
        <a:ln w="0">
          <a:noFill/>
        </a:ln>
      </c:spPr>
    </c:plotArea>
    <c:plotVisOnly val="1"/>
    <c:dispBlanksAs val="gap"/>
    <c:showDLblsOverMax val="1"/>
  </c:chart>
  <c:spPr>
    <a:noFill/>
    <a:ln w="9360">
      <a:noFill/>
    </a:ln>
  </c:spPr>
  <c:txPr>
    <a:bodyPr/>
    <a:lstStyle/>
    <a:p>
      <a:pPr>
        <a:defRPr sz="1000" b="0">
          <a:solidFill>
            <a:srgbClr val="484240"/>
          </a:solidFill>
        </a:defRPr>
      </a:pPr>
      <a:endParaRPr lang="nl-NL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F6A656-CCDA-4C73-80F4-3E7432AFC3FE}" type="datetimeFigureOut">
              <a:rPr lang="nl-NL" smtClean="0"/>
              <a:t>30-11-2023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3946926-794E-4AB0-A544-EA61B395C32E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384214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BF8DA0-31EA-4C06-8257-5A9C414A3D0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419833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BF8DA0-31EA-4C06-8257-5A9C414A3D0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05581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BF8DA0-31EA-4C06-8257-5A9C414A3D0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11168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BF8DA0-31EA-4C06-8257-5A9C414A3D0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72282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BF8DA0-31EA-4C06-8257-5A9C414A3D0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23487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BF8DA0-31EA-4C06-8257-5A9C414A3D0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8026764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BF8DA0-31EA-4C06-8257-5A9C414A3D0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56717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BF8DA0-31EA-4C06-8257-5A9C414A3D0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196022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BF8DA0-31EA-4C06-8257-5A9C414A3D0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428415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BF8DA0-31EA-4C06-8257-5A9C414A3D0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53291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BF8DA0-31EA-4C06-8257-5A9C414A3D0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29967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BF8DA0-31EA-4C06-8257-5A9C414A3D0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7768165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BF8DA0-31EA-4C06-8257-5A9C414A3D0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677488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BF8DA0-31EA-4C06-8257-5A9C414A3D0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068156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BF8DA0-31EA-4C06-8257-5A9C414A3D0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88197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BF8DA0-31EA-4C06-8257-5A9C414A3D02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89021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hyperlink" Target="https://carend.nl/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hyperlink" Target="https://carend.nl/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hyperlink" Target="https://carend.nl/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hyperlink" Target="https://carend.nl/" TargetMode="External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15986ED-6124-C3C2-BCED-6DFECE3CB1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71CAB6E3-867A-8202-E7D6-EBCF52AED90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F4F6FB00-C3CD-9B75-4155-9CF4918098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EC90B9-A9B4-46DC-B2DD-E99B6F022F63}" type="datetimeFigureOut">
              <a:rPr lang="nl-NL" smtClean="0"/>
              <a:t>30-11-2023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4E29634-B2F6-373A-1039-EE376F7009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DE8E86F5-5213-F878-2BE7-EC14885072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70E46-29E4-4446-8443-A55F2362911D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98695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76DDF7-7B97-8D48-183C-E1D059C8A8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5BEBEB7A-AA92-FD89-0AB2-67D002D0728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43FF39D8-81E5-BAA9-7E1D-0327F00630E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EC90B9-A9B4-46DC-B2DD-E99B6F022F63}" type="datetimeFigureOut">
              <a:rPr lang="nl-NL" smtClean="0"/>
              <a:t>30-11-2023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99A5EC4B-721D-8FFA-A55E-C943DA17C6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6D06F386-DA19-1208-ED23-CE896C4F9D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70E46-29E4-4446-8443-A55F2362911D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110584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e titel 1">
            <a:extLst>
              <a:ext uri="{FF2B5EF4-FFF2-40B4-BE49-F238E27FC236}">
                <a16:creationId xmlns:a16="http://schemas.microsoft.com/office/drawing/2014/main" id="{67296B34-1DBA-832F-8953-C33E974EB7A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verticale tekst 2">
            <a:extLst>
              <a:ext uri="{FF2B5EF4-FFF2-40B4-BE49-F238E27FC236}">
                <a16:creationId xmlns:a16="http://schemas.microsoft.com/office/drawing/2014/main" id="{BFE6BE0A-D804-05DD-DDED-BAAF2104052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0CD378FF-1CA4-AA5F-A22D-05538E8A8C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EC90B9-A9B4-46DC-B2DD-E99B6F022F63}" type="datetimeFigureOut">
              <a:rPr lang="nl-NL" smtClean="0"/>
              <a:t>30-11-2023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59834BDB-1CD1-427F-D129-4FB8A6901E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042866C-A977-0A8F-71E7-0951164E99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70E46-29E4-4446-8443-A55F2362911D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775131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55AD46D2-019B-4679-9C2A-63FB9DFBCC72}"/>
              </a:ext>
            </a:extLst>
          </p:cNvPr>
          <p:cNvSpPr/>
          <p:nvPr userDrawn="1"/>
        </p:nvSpPr>
        <p:spPr>
          <a:xfrm>
            <a:off x="0" y="0"/>
            <a:ext cx="12192000" cy="32194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3435EE05-F908-4FA3-AB0C-F46C982E769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276080" y="-7619"/>
            <a:ext cx="7915920" cy="4348798"/>
          </a:xfrm>
          <a:custGeom>
            <a:avLst/>
            <a:gdLst>
              <a:gd name="connsiteX0" fmla="*/ 0 w 8061960"/>
              <a:gd name="connsiteY0" fmla="*/ 0 h 4320000"/>
              <a:gd name="connsiteX1" fmla="*/ 8061960 w 8061960"/>
              <a:gd name="connsiteY1" fmla="*/ 0 h 4320000"/>
              <a:gd name="connsiteX2" fmla="*/ 8061960 w 8061960"/>
              <a:gd name="connsiteY2" fmla="*/ 4320000 h 4320000"/>
              <a:gd name="connsiteX3" fmla="*/ 0 w 8061960"/>
              <a:gd name="connsiteY3" fmla="*/ 4320000 h 4320000"/>
              <a:gd name="connsiteX4" fmla="*/ 0 w 8061960"/>
              <a:gd name="connsiteY4" fmla="*/ 0 h 4320000"/>
              <a:gd name="connsiteX0" fmla="*/ 929640 w 8061960"/>
              <a:gd name="connsiteY0" fmla="*/ 0 h 4327620"/>
              <a:gd name="connsiteX1" fmla="*/ 8061960 w 8061960"/>
              <a:gd name="connsiteY1" fmla="*/ 7620 h 4327620"/>
              <a:gd name="connsiteX2" fmla="*/ 8061960 w 8061960"/>
              <a:gd name="connsiteY2" fmla="*/ 4327620 h 4327620"/>
              <a:gd name="connsiteX3" fmla="*/ 0 w 8061960"/>
              <a:gd name="connsiteY3" fmla="*/ 4327620 h 4327620"/>
              <a:gd name="connsiteX4" fmla="*/ 929640 w 8061960"/>
              <a:gd name="connsiteY4" fmla="*/ 0 h 4327620"/>
              <a:gd name="connsiteX0" fmla="*/ 929640 w 8061960"/>
              <a:gd name="connsiteY0" fmla="*/ 0 h 4327620"/>
              <a:gd name="connsiteX1" fmla="*/ 8061960 w 8061960"/>
              <a:gd name="connsiteY1" fmla="*/ 7620 h 4327620"/>
              <a:gd name="connsiteX2" fmla="*/ 8061960 w 8061960"/>
              <a:gd name="connsiteY2" fmla="*/ 4327620 h 4327620"/>
              <a:gd name="connsiteX3" fmla="*/ 518160 w 8061960"/>
              <a:gd name="connsiteY3" fmla="*/ 4168140 h 4327620"/>
              <a:gd name="connsiteX4" fmla="*/ 0 w 8061960"/>
              <a:gd name="connsiteY4" fmla="*/ 4327620 h 4327620"/>
              <a:gd name="connsiteX5" fmla="*/ 929640 w 8061960"/>
              <a:gd name="connsiteY5" fmla="*/ 0 h 4327620"/>
              <a:gd name="connsiteX0" fmla="*/ 929640 w 8061960"/>
              <a:gd name="connsiteY0" fmla="*/ 0 h 4328160"/>
              <a:gd name="connsiteX1" fmla="*/ 8061960 w 8061960"/>
              <a:gd name="connsiteY1" fmla="*/ 7620 h 4328160"/>
              <a:gd name="connsiteX2" fmla="*/ 8061960 w 8061960"/>
              <a:gd name="connsiteY2" fmla="*/ 4327620 h 4328160"/>
              <a:gd name="connsiteX3" fmla="*/ 518160 w 8061960"/>
              <a:gd name="connsiteY3" fmla="*/ 4328160 h 4328160"/>
              <a:gd name="connsiteX4" fmla="*/ 0 w 8061960"/>
              <a:gd name="connsiteY4" fmla="*/ 4327620 h 4328160"/>
              <a:gd name="connsiteX5" fmla="*/ 929640 w 8061960"/>
              <a:gd name="connsiteY5" fmla="*/ 0 h 4328160"/>
              <a:gd name="connsiteX0" fmla="*/ 815340 w 7947660"/>
              <a:gd name="connsiteY0" fmla="*/ 0 h 4328160"/>
              <a:gd name="connsiteX1" fmla="*/ 7947660 w 7947660"/>
              <a:gd name="connsiteY1" fmla="*/ 7620 h 4328160"/>
              <a:gd name="connsiteX2" fmla="*/ 7947660 w 7947660"/>
              <a:gd name="connsiteY2" fmla="*/ 4327620 h 4328160"/>
              <a:gd name="connsiteX3" fmla="*/ 403860 w 7947660"/>
              <a:gd name="connsiteY3" fmla="*/ 4328160 h 4328160"/>
              <a:gd name="connsiteX4" fmla="*/ 0 w 7947660"/>
              <a:gd name="connsiteY4" fmla="*/ 3825970 h 4328160"/>
              <a:gd name="connsiteX5" fmla="*/ 815340 w 7947660"/>
              <a:gd name="connsiteY5" fmla="*/ 0 h 4328160"/>
              <a:gd name="connsiteX0" fmla="*/ 847667 w 7979987"/>
              <a:gd name="connsiteY0" fmla="*/ 0 h 4328160"/>
              <a:gd name="connsiteX1" fmla="*/ 7979987 w 7979987"/>
              <a:gd name="connsiteY1" fmla="*/ 7620 h 4328160"/>
              <a:gd name="connsiteX2" fmla="*/ 7979987 w 7979987"/>
              <a:gd name="connsiteY2" fmla="*/ 4327620 h 4328160"/>
              <a:gd name="connsiteX3" fmla="*/ 436187 w 7979987"/>
              <a:gd name="connsiteY3" fmla="*/ 4328160 h 4328160"/>
              <a:gd name="connsiteX4" fmla="*/ 32327 w 7979987"/>
              <a:gd name="connsiteY4" fmla="*/ 3825970 h 4328160"/>
              <a:gd name="connsiteX5" fmla="*/ 847667 w 7979987"/>
              <a:gd name="connsiteY5" fmla="*/ 0 h 4328160"/>
              <a:gd name="connsiteX0" fmla="*/ 856065 w 7988385"/>
              <a:gd name="connsiteY0" fmla="*/ 0 h 4332188"/>
              <a:gd name="connsiteX1" fmla="*/ 7988385 w 7988385"/>
              <a:gd name="connsiteY1" fmla="*/ 7620 h 4332188"/>
              <a:gd name="connsiteX2" fmla="*/ 7988385 w 7988385"/>
              <a:gd name="connsiteY2" fmla="*/ 4327620 h 4332188"/>
              <a:gd name="connsiteX3" fmla="*/ 444585 w 7988385"/>
              <a:gd name="connsiteY3" fmla="*/ 4328160 h 4332188"/>
              <a:gd name="connsiteX4" fmla="*/ 40725 w 7988385"/>
              <a:gd name="connsiteY4" fmla="*/ 3825970 h 4332188"/>
              <a:gd name="connsiteX5" fmla="*/ 856065 w 7988385"/>
              <a:gd name="connsiteY5" fmla="*/ 0 h 4332188"/>
              <a:gd name="connsiteX0" fmla="*/ 810472 w 7942792"/>
              <a:gd name="connsiteY0" fmla="*/ 0 h 4328160"/>
              <a:gd name="connsiteX1" fmla="*/ 7942792 w 7942792"/>
              <a:gd name="connsiteY1" fmla="*/ 7620 h 4328160"/>
              <a:gd name="connsiteX2" fmla="*/ 7942792 w 7942792"/>
              <a:gd name="connsiteY2" fmla="*/ 4327620 h 4328160"/>
              <a:gd name="connsiteX3" fmla="*/ 398992 w 7942792"/>
              <a:gd name="connsiteY3" fmla="*/ 4328160 h 4328160"/>
              <a:gd name="connsiteX4" fmla="*/ 45932 w 7942792"/>
              <a:gd name="connsiteY4" fmla="*/ 3578320 h 4328160"/>
              <a:gd name="connsiteX5" fmla="*/ 810472 w 7942792"/>
              <a:gd name="connsiteY5" fmla="*/ 0 h 4328160"/>
              <a:gd name="connsiteX0" fmla="*/ 807980 w 7940300"/>
              <a:gd name="connsiteY0" fmla="*/ 0 h 4328160"/>
              <a:gd name="connsiteX1" fmla="*/ 7940300 w 7940300"/>
              <a:gd name="connsiteY1" fmla="*/ 7620 h 4328160"/>
              <a:gd name="connsiteX2" fmla="*/ 7940300 w 7940300"/>
              <a:gd name="connsiteY2" fmla="*/ 4327620 h 4328160"/>
              <a:gd name="connsiteX3" fmla="*/ 396500 w 7940300"/>
              <a:gd name="connsiteY3" fmla="*/ 4328160 h 4328160"/>
              <a:gd name="connsiteX4" fmla="*/ 43440 w 7940300"/>
              <a:gd name="connsiteY4" fmla="*/ 3578320 h 4328160"/>
              <a:gd name="connsiteX5" fmla="*/ 807980 w 7940300"/>
              <a:gd name="connsiteY5" fmla="*/ 0 h 4328160"/>
              <a:gd name="connsiteX0" fmla="*/ 793452 w 7925772"/>
              <a:gd name="connsiteY0" fmla="*/ 0 h 4327620"/>
              <a:gd name="connsiteX1" fmla="*/ 7925772 w 7925772"/>
              <a:gd name="connsiteY1" fmla="*/ 7620 h 4327620"/>
              <a:gd name="connsiteX2" fmla="*/ 7925772 w 7925772"/>
              <a:gd name="connsiteY2" fmla="*/ 4327620 h 4327620"/>
              <a:gd name="connsiteX3" fmla="*/ 572472 w 7925772"/>
              <a:gd name="connsiteY3" fmla="*/ 4315460 h 4327620"/>
              <a:gd name="connsiteX4" fmla="*/ 28912 w 7925772"/>
              <a:gd name="connsiteY4" fmla="*/ 3578320 h 4327620"/>
              <a:gd name="connsiteX5" fmla="*/ 793452 w 7925772"/>
              <a:gd name="connsiteY5" fmla="*/ 0 h 4327620"/>
              <a:gd name="connsiteX0" fmla="*/ 800673 w 7932993"/>
              <a:gd name="connsiteY0" fmla="*/ 0 h 4327620"/>
              <a:gd name="connsiteX1" fmla="*/ 7932993 w 7932993"/>
              <a:gd name="connsiteY1" fmla="*/ 7620 h 4327620"/>
              <a:gd name="connsiteX2" fmla="*/ 7932993 w 7932993"/>
              <a:gd name="connsiteY2" fmla="*/ 4327620 h 4327620"/>
              <a:gd name="connsiteX3" fmla="*/ 579693 w 7932993"/>
              <a:gd name="connsiteY3" fmla="*/ 4315460 h 4327620"/>
              <a:gd name="connsiteX4" fmla="*/ 36133 w 7932993"/>
              <a:gd name="connsiteY4" fmla="*/ 3578320 h 4327620"/>
              <a:gd name="connsiteX5" fmla="*/ 800673 w 7932993"/>
              <a:gd name="connsiteY5" fmla="*/ 0 h 4327620"/>
              <a:gd name="connsiteX0" fmla="*/ 801047 w 7933367"/>
              <a:gd name="connsiteY0" fmla="*/ 0 h 4339273"/>
              <a:gd name="connsiteX1" fmla="*/ 7933367 w 7933367"/>
              <a:gd name="connsiteY1" fmla="*/ 7620 h 4339273"/>
              <a:gd name="connsiteX2" fmla="*/ 7933367 w 7933367"/>
              <a:gd name="connsiteY2" fmla="*/ 4327620 h 4339273"/>
              <a:gd name="connsiteX3" fmla="*/ 575304 w 7933367"/>
              <a:gd name="connsiteY3" fmla="*/ 4339273 h 4339273"/>
              <a:gd name="connsiteX4" fmla="*/ 36507 w 7933367"/>
              <a:gd name="connsiteY4" fmla="*/ 3578320 h 4339273"/>
              <a:gd name="connsiteX5" fmla="*/ 801047 w 7933367"/>
              <a:gd name="connsiteY5" fmla="*/ 0 h 4339273"/>
              <a:gd name="connsiteX0" fmla="*/ 793542 w 7925862"/>
              <a:gd name="connsiteY0" fmla="*/ 0 h 4339273"/>
              <a:gd name="connsiteX1" fmla="*/ 7925862 w 7925862"/>
              <a:gd name="connsiteY1" fmla="*/ 7620 h 4339273"/>
              <a:gd name="connsiteX2" fmla="*/ 7925862 w 7925862"/>
              <a:gd name="connsiteY2" fmla="*/ 4327620 h 4339273"/>
              <a:gd name="connsiteX3" fmla="*/ 567799 w 7925862"/>
              <a:gd name="connsiteY3" fmla="*/ 4339273 h 4339273"/>
              <a:gd name="connsiteX4" fmla="*/ 29002 w 7925862"/>
              <a:gd name="connsiteY4" fmla="*/ 3578320 h 4339273"/>
              <a:gd name="connsiteX5" fmla="*/ 793542 w 7925862"/>
              <a:gd name="connsiteY5" fmla="*/ 0 h 4339273"/>
              <a:gd name="connsiteX0" fmla="*/ 783782 w 7916102"/>
              <a:gd name="connsiteY0" fmla="*/ 0 h 4339273"/>
              <a:gd name="connsiteX1" fmla="*/ 7916102 w 7916102"/>
              <a:gd name="connsiteY1" fmla="*/ 7620 h 4339273"/>
              <a:gd name="connsiteX2" fmla="*/ 7916102 w 7916102"/>
              <a:gd name="connsiteY2" fmla="*/ 4327620 h 4339273"/>
              <a:gd name="connsiteX3" fmla="*/ 558039 w 7916102"/>
              <a:gd name="connsiteY3" fmla="*/ 4339273 h 4339273"/>
              <a:gd name="connsiteX4" fmla="*/ 19242 w 7916102"/>
              <a:gd name="connsiteY4" fmla="*/ 3578320 h 4339273"/>
              <a:gd name="connsiteX5" fmla="*/ 783782 w 7916102"/>
              <a:gd name="connsiteY5" fmla="*/ 0 h 4339273"/>
              <a:gd name="connsiteX0" fmla="*/ 783782 w 7916102"/>
              <a:gd name="connsiteY0" fmla="*/ 0 h 4346670"/>
              <a:gd name="connsiteX1" fmla="*/ 7916102 w 7916102"/>
              <a:gd name="connsiteY1" fmla="*/ 7620 h 4346670"/>
              <a:gd name="connsiteX2" fmla="*/ 7916102 w 7916102"/>
              <a:gd name="connsiteY2" fmla="*/ 4346670 h 4346670"/>
              <a:gd name="connsiteX3" fmla="*/ 558039 w 7916102"/>
              <a:gd name="connsiteY3" fmla="*/ 4339273 h 4346670"/>
              <a:gd name="connsiteX4" fmla="*/ 19242 w 7916102"/>
              <a:gd name="connsiteY4" fmla="*/ 3578320 h 4346670"/>
              <a:gd name="connsiteX5" fmla="*/ 783782 w 7916102"/>
              <a:gd name="connsiteY5" fmla="*/ 0 h 4346670"/>
              <a:gd name="connsiteX0" fmla="*/ 783600 w 7915920"/>
              <a:gd name="connsiteY0" fmla="*/ 0 h 4348798"/>
              <a:gd name="connsiteX1" fmla="*/ 7915920 w 7915920"/>
              <a:gd name="connsiteY1" fmla="*/ 7620 h 4348798"/>
              <a:gd name="connsiteX2" fmla="*/ 7915920 w 7915920"/>
              <a:gd name="connsiteY2" fmla="*/ 4346670 h 4348798"/>
              <a:gd name="connsiteX3" fmla="*/ 562619 w 7915920"/>
              <a:gd name="connsiteY3" fmla="*/ 4348798 h 4348798"/>
              <a:gd name="connsiteX4" fmla="*/ 19060 w 7915920"/>
              <a:gd name="connsiteY4" fmla="*/ 3578320 h 4348798"/>
              <a:gd name="connsiteX5" fmla="*/ 783600 w 7915920"/>
              <a:gd name="connsiteY5" fmla="*/ 0 h 43487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15920" h="4348798">
                <a:moveTo>
                  <a:pt x="783600" y="0"/>
                </a:moveTo>
                <a:lnTo>
                  <a:pt x="7915920" y="7620"/>
                </a:lnTo>
                <a:lnTo>
                  <a:pt x="7915920" y="4346670"/>
                </a:lnTo>
                <a:lnTo>
                  <a:pt x="562619" y="4348798"/>
                </a:lnTo>
                <a:cubicBezTo>
                  <a:pt x="310524" y="4348089"/>
                  <a:pt x="-92383" y="4131479"/>
                  <a:pt x="19060" y="3578320"/>
                </a:cubicBezTo>
                <a:lnTo>
                  <a:pt x="783600" y="0"/>
                </a:lnTo>
                <a:close/>
              </a:path>
            </a:pathLst>
          </a:custGeom>
          <a:solidFill>
            <a:schemeClr val="accent1"/>
          </a:solidFill>
        </p:spPr>
        <p:txBody>
          <a:bodyPr/>
          <a:lstStyle/>
          <a:p>
            <a:endParaRPr lang="ru-RU"/>
          </a:p>
        </p:txBody>
      </p:sp>
      <p:sp>
        <p:nvSpPr>
          <p:cNvPr id="16" name="Title 10">
            <a:extLst>
              <a:ext uri="{FF2B5EF4-FFF2-40B4-BE49-F238E27FC236}">
                <a16:creationId xmlns:a16="http://schemas.microsoft.com/office/drawing/2014/main" id="{A56C15E2-DCCF-47C1-B2EF-9C1FFE531B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4" y="4779542"/>
            <a:ext cx="11490326" cy="1325563"/>
          </a:xfrm>
          <a:prstGeom prst="rect">
            <a:avLst/>
          </a:prstGeom>
        </p:spPr>
        <p:txBody>
          <a:bodyPr lIns="0" anchor="b"/>
          <a:lstStyle>
            <a:lvl1pPr>
              <a:defRPr sz="4200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5C1D50E3-15AC-452B-9E4D-CD6EE6925A5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1475" y="6215293"/>
            <a:ext cx="5724525" cy="274407"/>
          </a:xfrm>
          <a:prstGeom prst="rect">
            <a:avLst/>
          </a:prstGeom>
        </p:spPr>
        <p:txBody>
          <a:bodyPr lIns="0" anchor="b"/>
          <a:lstStyle>
            <a:lvl1pPr marL="0" indent="0">
              <a:buNone/>
              <a:defRPr lang="ru-RU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  <a:endParaRPr lang="ru-RU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8D7F7FF-D490-4F1E-9376-9A266E49CBBE}"/>
              </a:ext>
            </a:extLst>
          </p:cNvPr>
          <p:cNvSpPr/>
          <p:nvPr userDrawn="1"/>
        </p:nvSpPr>
        <p:spPr>
          <a:xfrm>
            <a:off x="11597640" y="6507480"/>
            <a:ext cx="350520" cy="2286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925F3BC-10B2-4B74-A2B8-0E939AAC48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4" y="368298"/>
            <a:ext cx="2525474" cy="629507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846E8D41-F98B-476C-9849-2D16754F5C5A}"/>
              </a:ext>
            </a:extLst>
          </p:cNvPr>
          <p:cNvSpPr txBox="1"/>
          <p:nvPr userDrawn="1"/>
        </p:nvSpPr>
        <p:spPr>
          <a:xfrm>
            <a:off x="371473" y="1216209"/>
            <a:ext cx="3384317" cy="719923"/>
          </a:xfrm>
          <a:prstGeom prst="rect">
            <a:avLst/>
          </a:prstGeom>
          <a:noFill/>
        </p:spPr>
        <p:txBody>
          <a:bodyPr wrap="square" lIns="0" tIns="72000" rIns="72000" bIns="72000">
            <a:spAutoFit/>
          </a:bodyPr>
          <a:lstStyle/>
          <a:p>
            <a:pPr marR="0" algn="l" rtl="0"/>
            <a:r>
              <a:rPr lang="nl-NL" sz="2800" b="1" i="0" u="none" strike="noStrike" baseline="30000" dirty="0">
                <a:solidFill>
                  <a:schemeClr val="accent5"/>
                </a:solidFill>
                <a:latin typeface="+mj-lt"/>
              </a:rPr>
              <a:t>ook als je niet meer beter wordt,</a:t>
            </a:r>
            <a:br>
              <a:rPr lang="nl-NL" sz="2800" b="1" i="0" u="none" strike="noStrike" baseline="30000" dirty="0">
                <a:solidFill>
                  <a:schemeClr val="accent5"/>
                </a:solidFill>
                <a:latin typeface="+mj-lt"/>
              </a:rPr>
            </a:br>
            <a:r>
              <a:rPr lang="nl-NL" sz="2800" b="1" i="0" u="none" strike="noStrike" baseline="30000" dirty="0">
                <a:solidFill>
                  <a:schemeClr val="accent5"/>
                </a:solidFill>
                <a:latin typeface="+mj-lt"/>
              </a:rPr>
              <a:t>verdien je de beste zorg!</a:t>
            </a:r>
          </a:p>
        </p:txBody>
      </p:sp>
    </p:spTree>
    <p:extLst>
      <p:ext uri="{BB962C8B-B14F-4D97-AF65-F5344CB8AC3E}">
        <p14:creationId xmlns:p14="http://schemas.microsoft.com/office/powerpoint/2010/main" val="288064414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4088">
          <p15:clr>
            <a:srgbClr val="FBAE40"/>
          </p15:clr>
        </p15:guide>
        <p15:guide id="4" orient="horz" pos="232">
          <p15:clr>
            <a:srgbClr val="FBAE40"/>
          </p15:clr>
        </p15:guide>
        <p15:guide id="5" pos="23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ey poin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828BECEB-FA1C-4C21-82D2-E15DD7973DD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2562" y="432084"/>
            <a:ext cx="1217970" cy="2988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238498C8-93FE-4B97-B301-641B4E3895B7}"/>
              </a:ext>
            </a:extLst>
          </p:cNvPr>
          <p:cNvSpPr/>
          <p:nvPr userDrawn="1"/>
        </p:nvSpPr>
        <p:spPr>
          <a:xfrm>
            <a:off x="11597640" y="6507480"/>
            <a:ext cx="350520" cy="2286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670A87-7540-42C5-BD00-837E8E972D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1475" y="2028616"/>
            <a:ext cx="8456356" cy="280076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44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17963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4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orient="horz" pos="686">
          <p15:clr>
            <a:srgbClr val="FBAE40"/>
          </p15:clr>
        </p15:guide>
        <p15:guide id="7" orient="horz" pos="3861">
          <p15:clr>
            <a:srgbClr val="FBAE40"/>
          </p15:clr>
        </p15:guide>
        <p15:guide id="8" orient="horz" pos="913">
          <p15:clr>
            <a:srgbClr val="FBAE40"/>
          </p15:clr>
        </p15:guide>
        <p15:guide id="11" pos="4067">
          <p15:clr>
            <a:srgbClr val="FBAE40"/>
          </p15:clr>
        </p15:guide>
        <p15:guide id="13" pos="3613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D9EF86-EC5D-4F32-8A85-5C768DA1F0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419944"/>
            <a:ext cx="10053887" cy="669081"/>
          </a:xfrm>
          <a:prstGeom prst="rect">
            <a:avLst/>
          </a:prstGeom>
        </p:spPr>
        <p:txBody>
          <a:bodyPr lIns="0" tIns="0" bIns="0" anchor="t">
            <a:no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</a:t>
            </a:r>
            <a:r>
              <a:rPr lang="ru-RU" dirty="0"/>
              <a:t> </a:t>
            </a:r>
            <a:r>
              <a:rPr lang="en-US" dirty="0"/>
              <a:t>style</a:t>
            </a:r>
            <a:endParaRPr lang="ru-RU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DA4CA46-6A0A-4AEC-A724-417B30B739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3039" y="432298"/>
            <a:ext cx="1197012" cy="29837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C25CC8F-C95C-4302-B63C-6560796C0503}"/>
              </a:ext>
            </a:extLst>
          </p:cNvPr>
          <p:cNvSpPr txBox="1"/>
          <p:nvPr userDrawn="1"/>
        </p:nvSpPr>
        <p:spPr>
          <a:xfrm>
            <a:off x="5709920" y="6492874"/>
            <a:ext cx="772160" cy="215444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/>
            <a:r>
              <a:rPr lang="en-US" sz="800" b="1" dirty="0">
                <a:solidFill>
                  <a:schemeClr val="accent2"/>
                </a:solidFill>
                <a:hlinkClick r:id="rId3"/>
              </a:rPr>
              <a:t>carend.nl</a:t>
            </a:r>
            <a:endParaRPr lang="ru-RU" sz="800" b="1" dirty="0">
              <a:solidFill>
                <a:schemeClr val="accent2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B640F25-45F9-4A5C-99E7-0D3CF99AC008}"/>
              </a:ext>
            </a:extLst>
          </p:cNvPr>
          <p:cNvSpPr txBox="1"/>
          <p:nvPr userDrawn="1"/>
        </p:nvSpPr>
        <p:spPr>
          <a:xfrm>
            <a:off x="371474" y="6492874"/>
            <a:ext cx="4603583" cy="215444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l"/>
            <a:r>
              <a:rPr lang="nl-NL" sz="800" b="0" dirty="0">
                <a:solidFill>
                  <a:schemeClr val="accent6"/>
                </a:solidFill>
              </a:rPr>
              <a:t>Carend – 202</a:t>
            </a:r>
            <a:r>
              <a:rPr lang="ru-RU" sz="800" b="0" dirty="0">
                <a:solidFill>
                  <a:schemeClr val="accent6"/>
                </a:solidFill>
              </a:rPr>
              <a:t>3-0</a:t>
            </a:r>
            <a:r>
              <a:rPr lang="en-US" sz="800" b="0" dirty="0">
                <a:solidFill>
                  <a:schemeClr val="accent6"/>
                </a:solidFill>
              </a:rPr>
              <a:t>9</a:t>
            </a:r>
            <a:r>
              <a:rPr lang="nl-NL" sz="800" b="0" dirty="0">
                <a:solidFill>
                  <a:schemeClr val="accent6"/>
                </a:solidFill>
              </a:rPr>
              <a:t> – Palliatieve zorg “Leven toevoegen aan de dagen”</a:t>
            </a:r>
          </a:p>
        </p:txBody>
      </p:sp>
    </p:spTree>
    <p:extLst>
      <p:ext uri="{BB962C8B-B14F-4D97-AF65-F5344CB8AC3E}">
        <p14:creationId xmlns:p14="http://schemas.microsoft.com/office/powerpoint/2010/main" val="2565715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4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orient="horz" pos="686">
          <p15:clr>
            <a:srgbClr val="FBAE40"/>
          </p15:clr>
        </p15:guide>
        <p15:guide id="7" orient="horz" pos="3861">
          <p15:clr>
            <a:srgbClr val="FBAE40"/>
          </p15:clr>
        </p15:guide>
        <p15:guide id="8" orient="horz" pos="913">
          <p15:clr>
            <a:srgbClr val="FBAE40"/>
          </p15:clr>
        </p15:guide>
        <p15:guide id="9" pos="2484">
          <p15:clr>
            <a:srgbClr val="FBAE40"/>
          </p15:clr>
        </p15:guide>
        <p15:guide id="11" pos="4966">
          <p15:clr>
            <a:srgbClr val="FBAE40"/>
          </p15:clr>
        </p15:guide>
        <p15:guide id="12" pos="5194">
          <p15:clr>
            <a:srgbClr val="FBAE40"/>
          </p15:clr>
        </p15:guide>
        <p15:guide id="13" pos="271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@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D9EF86-EC5D-4F32-8A85-5C768DA1F0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419944"/>
            <a:ext cx="10053887" cy="669081"/>
          </a:xfrm>
          <a:prstGeom prst="rect">
            <a:avLst/>
          </a:prstGeom>
        </p:spPr>
        <p:txBody>
          <a:bodyPr lIns="0" tIns="0" bIns="0" anchor="t">
            <a:no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</a:t>
            </a:r>
            <a:r>
              <a:rPr lang="ru-RU" dirty="0"/>
              <a:t> </a:t>
            </a:r>
            <a:r>
              <a:rPr lang="en-US" dirty="0"/>
              <a:t>style</a:t>
            </a:r>
            <a:endParaRPr lang="ru-RU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DA4CA46-6A0A-4AEC-A724-417B30B739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3039" y="432298"/>
            <a:ext cx="1197012" cy="29837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C25CC8F-C95C-4302-B63C-6560796C0503}"/>
              </a:ext>
            </a:extLst>
          </p:cNvPr>
          <p:cNvSpPr txBox="1"/>
          <p:nvPr userDrawn="1"/>
        </p:nvSpPr>
        <p:spPr>
          <a:xfrm>
            <a:off x="5709920" y="6492874"/>
            <a:ext cx="772160" cy="215444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/>
            <a:r>
              <a:rPr lang="en-US" sz="800" b="1" dirty="0">
                <a:solidFill>
                  <a:schemeClr val="accent2"/>
                </a:solidFill>
                <a:hlinkClick r:id="rId3"/>
              </a:rPr>
              <a:t>carend.nl</a:t>
            </a:r>
            <a:endParaRPr lang="ru-RU" sz="800" b="1" dirty="0">
              <a:solidFill>
                <a:schemeClr val="accent2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B640F25-45F9-4A5C-99E7-0D3CF99AC008}"/>
              </a:ext>
            </a:extLst>
          </p:cNvPr>
          <p:cNvSpPr txBox="1"/>
          <p:nvPr userDrawn="1"/>
        </p:nvSpPr>
        <p:spPr>
          <a:xfrm>
            <a:off x="371474" y="6492874"/>
            <a:ext cx="4603583" cy="215444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l"/>
            <a:r>
              <a:rPr lang="nl-NL" sz="800" b="0" dirty="0">
                <a:solidFill>
                  <a:schemeClr val="accent6"/>
                </a:solidFill>
              </a:rPr>
              <a:t>Carend – 202</a:t>
            </a:r>
            <a:r>
              <a:rPr lang="ru-RU" sz="800" b="0" dirty="0">
                <a:solidFill>
                  <a:schemeClr val="accent6"/>
                </a:solidFill>
              </a:rPr>
              <a:t>3-0</a:t>
            </a:r>
            <a:r>
              <a:rPr lang="en-US" sz="800" b="0" dirty="0">
                <a:solidFill>
                  <a:schemeClr val="accent6"/>
                </a:solidFill>
              </a:rPr>
              <a:t>9</a:t>
            </a:r>
            <a:r>
              <a:rPr lang="nl-NL" sz="800" b="0" dirty="0">
                <a:solidFill>
                  <a:schemeClr val="accent6"/>
                </a:solidFill>
              </a:rPr>
              <a:t> – Palliatieve zorg “Leven toevoegen aan de dagen”</a:t>
            </a:r>
          </a:p>
        </p:txBody>
      </p:sp>
      <p:sp>
        <p:nvSpPr>
          <p:cNvPr id="19" name="Picture Placeholder 16">
            <a:extLst>
              <a:ext uri="{FF2B5EF4-FFF2-40B4-BE49-F238E27FC236}">
                <a16:creationId xmlns:a16="http://schemas.microsoft.com/office/drawing/2014/main" id="{F8AB87F3-B6F0-4567-B0E4-01696998EA5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72150" y="1449338"/>
            <a:ext cx="3571200" cy="4680000"/>
          </a:xfrm>
          <a:prstGeom prst="rect">
            <a:avLst/>
          </a:prstGeo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69522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4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orient="horz" pos="686">
          <p15:clr>
            <a:srgbClr val="FBAE40"/>
          </p15:clr>
        </p15:guide>
        <p15:guide id="7" orient="horz" pos="3861">
          <p15:clr>
            <a:srgbClr val="FBAE40"/>
          </p15:clr>
        </p15:guide>
        <p15:guide id="8" orient="horz" pos="913">
          <p15:clr>
            <a:srgbClr val="FBAE40"/>
          </p15:clr>
        </p15:guide>
        <p15:guide id="9" pos="2484">
          <p15:clr>
            <a:srgbClr val="FBAE40"/>
          </p15:clr>
        </p15:guide>
        <p15:guide id="11" pos="4966">
          <p15:clr>
            <a:srgbClr val="FBAE40"/>
          </p15:clr>
        </p15:guide>
        <p15:guide id="12" pos="5194">
          <p15:clr>
            <a:srgbClr val="FBAE40"/>
          </p15:clr>
        </p15:guide>
        <p15:guide id="13" pos="271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g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D9EF86-EC5D-4F32-8A85-5C768DA1F0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419944"/>
            <a:ext cx="10053887" cy="669081"/>
          </a:xfrm>
          <a:prstGeom prst="rect">
            <a:avLst/>
          </a:prstGeom>
        </p:spPr>
        <p:txBody>
          <a:bodyPr lIns="0" tIns="0" bIns="0" anchor="t">
            <a:no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</a:t>
            </a:r>
            <a:r>
              <a:rPr lang="ru-RU" dirty="0"/>
              <a:t> </a:t>
            </a:r>
            <a:r>
              <a:rPr lang="en-US" dirty="0"/>
              <a:t>style</a:t>
            </a:r>
            <a:endParaRPr lang="ru-RU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DA4CA46-6A0A-4AEC-A724-417B30B739C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33039" y="432298"/>
            <a:ext cx="1197012" cy="298371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C25CC8F-C95C-4302-B63C-6560796C0503}"/>
              </a:ext>
            </a:extLst>
          </p:cNvPr>
          <p:cNvSpPr txBox="1"/>
          <p:nvPr userDrawn="1"/>
        </p:nvSpPr>
        <p:spPr>
          <a:xfrm>
            <a:off x="5709920" y="6492874"/>
            <a:ext cx="772160" cy="215444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/>
            <a:r>
              <a:rPr lang="en-US" sz="800" b="1" dirty="0">
                <a:solidFill>
                  <a:schemeClr val="accent2"/>
                </a:solidFill>
                <a:hlinkClick r:id="rId3"/>
              </a:rPr>
              <a:t>carend.nl</a:t>
            </a:r>
            <a:endParaRPr lang="ru-RU" sz="800" b="1" dirty="0">
              <a:solidFill>
                <a:schemeClr val="accent2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B640F25-45F9-4A5C-99E7-0D3CF99AC008}"/>
              </a:ext>
            </a:extLst>
          </p:cNvPr>
          <p:cNvSpPr txBox="1"/>
          <p:nvPr userDrawn="1"/>
        </p:nvSpPr>
        <p:spPr>
          <a:xfrm>
            <a:off x="371474" y="6492874"/>
            <a:ext cx="4603583" cy="215444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l"/>
            <a:r>
              <a:rPr lang="nl-NL" sz="800" b="0" dirty="0">
                <a:solidFill>
                  <a:schemeClr val="accent6"/>
                </a:solidFill>
              </a:rPr>
              <a:t>Carend – 202</a:t>
            </a:r>
            <a:r>
              <a:rPr lang="ru-RU" sz="800" b="0" dirty="0">
                <a:solidFill>
                  <a:schemeClr val="accent6"/>
                </a:solidFill>
              </a:rPr>
              <a:t>3-0</a:t>
            </a:r>
            <a:r>
              <a:rPr lang="en-US" sz="800" b="0" dirty="0">
                <a:solidFill>
                  <a:schemeClr val="accent6"/>
                </a:solidFill>
              </a:rPr>
              <a:t>9</a:t>
            </a:r>
            <a:r>
              <a:rPr lang="nl-NL" sz="800" b="0" dirty="0">
                <a:solidFill>
                  <a:schemeClr val="accent6"/>
                </a:solidFill>
              </a:rPr>
              <a:t> – Palliatieve zorg “Leven toevoegen aan de dagen”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AF4F4CD-77B4-420D-9C0E-B8B2D870B4D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1475" y="1449388"/>
            <a:ext cx="11449050" cy="4684712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320014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4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orient="horz" pos="686">
          <p15:clr>
            <a:srgbClr val="FBAE40"/>
          </p15:clr>
        </p15:guide>
        <p15:guide id="7" orient="horz" pos="3861">
          <p15:clr>
            <a:srgbClr val="FBAE40"/>
          </p15:clr>
        </p15:guide>
        <p15:guide id="8" orient="horz" pos="913">
          <p15:clr>
            <a:srgbClr val="FBAE40"/>
          </p15:clr>
        </p15:guide>
        <p15:guide id="9" pos="2484">
          <p15:clr>
            <a:srgbClr val="FBAE40"/>
          </p15:clr>
        </p15:guide>
        <p15:guide id="11" pos="4966">
          <p15:clr>
            <a:srgbClr val="FBAE40"/>
          </p15:clr>
        </p15:guide>
        <p15:guide id="12" pos="5194">
          <p15:clr>
            <a:srgbClr val="FBAE40"/>
          </p15:clr>
        </p15:guide>
        <p15:guide id="13" pos="2712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_Dark_2 column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D9EF86-EC5D-4F32-8A85-5C768DA1F0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419944"/>
            <a:ext cx="10053887" cy="669081"/>
          </a:xfrm>
          <a:prstGeom prst="rect">
            <a:avLst/>
          </a:prstGeom>
        </p:spPr>
        <p:txBody>
          <a:bodyPr lIns="0" tIns="0" bIns="0" anchor="t">
            <a:noAutofit/>
          </a:bodyPr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  <a:r>
              <a:rPr lang="ru-RU" dirty="0"/>
              <a:t> </a:t>
            </a:r>
            <a:r>
              <a:rPr lang="en-US" dirty="0"/>
              <a:t>style</a:t>
            </a:r>
            <a:endParaRPr lang="ru-RU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B0A2817-2004-4701-8544-C6ED3428273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1264052" y="6496261"/>
            <a:ext cx="556471" cy="199190"/>
          </a:xfrm>
          <a:prstGeom prst="rect">
            <a:avLst/>
          </a:prstGeom>
          <a:solidFill>
            <a:schemeClr val="accent1"/>
          </a:solidFill>
        </p:spPr>
        <p:txBody>
          <a:bodyPr lIns="0" rIns="0" anchor="ctr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accent5">
                    <a:lumMod val="20000"/>
                    <a:lumOff val="80000"/>
                  </a:schemeClr>
                </a:solidFill>
              </a:defRPr>
            </a:lvl1pPr>
            <a:lvl2pPr marL="457200" indent="0">
              <a:buNone/>
              <a:defRPr sz="800">
                <a:solidFill>
                  <a:schemeClr val="accent6"/>
                </a:solidFill>
              </a:defRPr>
            </a:lvl2pPr>
            <a:lvl3pPr marL="914400" indent="0">
              <a:buNone/>
              <a:defRPr sz="800">
                <a:solidFill>
                  <a:schemeClr val="accent6"/>
                </a:solidFill>
              </a:defRPr>
            </a:lvl3pPr>
            <a:lvl4pPr marL="1371600" indent="0">
              <a:buNone/>
              <a:defRPr sz="800">
                <a:solidFill>
                  <a:schemeClr val="accent6"/>
                </a:solidFill>
              </a:defRPr>
            </a:lvl4pPr>
            <a:lvl5pPr marL="1828800" indent="0">
              <a:buNone/>
              <a:defRPr sz="800">
                <a:solidFill>
                  <a:schemeClr val="accent6"/>
                </a:solidFill>
              </a:defRPr>
            </a:lvl5pPr>
          </a:lstStyle>
          <a:p>
            <a:pPr lvl="0"/>
            <a:fld id="{FB50B38F-614F-462E-A095-EA63438555C1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C25CC8F-C95C-4302-B63C-6560796C0503}"/>
              </a:ext>
            </a:extLst>
          </p:cNvPr>
          <p:cNvSpPr txBox="1"/>
          <p:nvPr userDrawn="1"/>
        </p:nvSpPr>
        <p:spPr>
          <a:xfrm>
            <a:off x="5709920" y="6492874"/>
            <a:ext cx="772160" cy="215444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ctr"/>
            <a:r>
              <a:rPr lang="en-US" sz="800" b="1" dirty="0">
                <a:solidFill>
                  <a:schemeClr val="bg1"/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arend.nl</a:t>
            </a:r>
            <a:endParaRPr lang="ru-RU" sz="800" b="1" dirty="0">
              <a:solidFill>
                <a:schemeClr val="bg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B640F25-45F9-4A5C-99E7-0D3CF99AC008}"/>
              </a:ext>
            </a:extLst>
          </p:cNvPr>
          <p:cNvSpPr txBox="1"/>
          <p:nvPr userDrawn="1"/>
        </p:nvSpPr>
        <p:spPr>
          <a:xfrm>
            <a:off x="371474" y="6492874"/>
            <a:ext cx="4603583" cy="215444"/>
          </a:xfrm>
          <a:prstGeom prst="rect">
            <a:avLst/>
          </a:prstGeom>
          <a:noFill/>
        </p:spPr>
        <p:txBody>
          <a:bodyPr wrap="square" lIns="0" rIns="0" rtlCol="0" anchor="ctr">
            <a:spAutoFit/>
          </a:bodyPr>
          <a:lstStyle/>
          <a:p>
            <a:pPr algn="l"/>
            <a:r>
              <a:rPr lang="nl-NL" sz="800" b="0" dirty="0">
                <a:solidFill>
                  <a:schemeClr val="accent5">
                    <a:lumMod val="20000"/>
                    <a:lumOff val="80000"/>
                  </a:schemeClr>
                </a:solidFill>
              </a:rPr>
              <a:t>Carend – 2023-09 – Palliatieve zorg “Leven toevoegen aan de dagen”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28BECEB-FA1C-4C21-82D2-E15DD7973DD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2562" y="432084"/>
            <a:ext cx="1217970" cy="29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1452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234">
          <p15:clr>
            <a:srgbClr val="FBAE40"/>
          </p15:clr>
        </p15:guide>
        <p15:guide id="4" pos="7446">
          <p15:clr>
            <a:srgbClr val="FBAE40"/>
          </p15:clr>
        </p15:guide>
        <p15:guide id="5" orient="horz" pos="4088">
          <p15:clr>
            <a:srgbClr val="FBAE40"/>
          </p15:clr>
        </p15:guide>
        <p15:guide id="6" orient="horz" pos="686">
          <p15:clr>
            <a:srgbClr val="FBAE40"/>
          </p15:clr>
        </p15:guide>
        <p15:guide id="7" orient="horz" pos="3861">
          <p15:clr>
            <a:srgbClr val="FBAE40"/>
          </p15:clr>
        </p15:guide>
        <p15:guide id="8" orient="horz" pos="913">
          <p15:clr>
            <a:srgbClr val="FBAE40"/>
          </p15:clr>
        </p15:guide>
        <p15:guide id="11" pos="4067">
          <p15:clr>
            <a:srgbClr val="FBAE40"/>
          </p15:clr>
        </p15:guide>
        <p15:guide id="13" pos="361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9845974-543A-A46A-5C9C-EF23DEB26E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8E9B653F-425F-08C3-77FD-6839686F2CE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2520C482-7A37-A065-EEAA-90E678C16F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EC90B9-A9B4-46DC-B2DD-E99B6F022F63}" type="datetimeFigureOut">
              <a:rPr lang="nl-NL" smtClean="0"/>
              <a:t>30-11-2023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DD5352B-8E8E-8D30-66CD-59A664AD8A6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2C3A56A4-6F14-CA47-5B5A-807567B654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70E46-29E4-4446-8443-A55F2362911D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832671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BE2197F-34C4-CA1E-0457-584D71045A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7830CB64-0A94-99DC-0A05-79BD2D0533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9C5FADAD-D1A9-779F-517C-158DE1C037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EC90B9-A9B4-46DC-B2DD-E99B6F022F63}" type="datetimeFigureOut">
              <a:rPr lang="nl-NL" smtClean="0"/>
              <a:t>30-11-2023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D41B66B3-195B-EA9B-8B83-87DBE1BF7F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5170029B-715B-6A06-9F8B-2D8F6168E1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70E46-29E4-4446-8443-A55F2362911D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552888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435FA6-75CB-40C4-B5D4-AF48A0EA65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43A3F272-3CB7-2661-CD9C-655A2F34023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D290C5AA-C1EB-DB38-B312-9265501F26B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7DAAEBB3-FECB-C03E-AF68-4AFEF90AF4E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EC90B9-A9B4-46DC-B2DD-E99B6F022F63}" type="datetimeFigureOut">
              <a:rPr lang="nl-NL" smtClean="0"/>
              <a:t>30-11-2023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70034130-1203-6809-3FD3-F071702874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719AFBFD-6C77-E7EA-1B2D-36B8B9C0F9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70E46-29E4-4446-8443-A55F2362911D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483790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F741C2E-319B-900C-E3B2-7459382F1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5EFC2824-3A22-C4B7-34BC-881262D44C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680EA8F9-18AB-9968-31CA-3F62266EA2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A7A6D8B9-3C5A-FC11-8F72-391AB3FC488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38479C8D-FC3B-87D3-EDA4-0751673F424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7" name="Tijdelijke aanduiding voor datum 6">
            <a:extLst>
              <a:ext uri="{FF2B5EF4-FFF2-40B4-BE49-F238E27FC236}">
                <a16:creationId xmlns:a16="http://schemas.microsoft.com/office/drawing/2014/main" id="{6B5C0162-F55B-B52E-7D5C-27A9DCC139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EC90B9-A9B4-46DC-B2DD-E99B6F022F63}" type="datetimeFigureOut">
              <a:rPr lang="nl-NL" smtClean="0"/>
              <a:t>30-11-2023</a:t>
            </a:fld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8F9837A0-B8DD-C419-30C5-5EAD133885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B1BEC02A-2090-0DAF-D6FA-2136F2D70F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70E46-29E4-4446-8443-A55F2362911D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526555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B95409-834E-FFF5-97C0-883BAAD8D4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C2115BD3-960D-42F2-DC41-A11FD52BAE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EC90B9-A9B4-46DC-B2DD-E99B6F022F63}" type="datetimeFigureOut">
              <a:rPr lang="nl-NL" smtClean="0"/>
              <a:t>30-11-2023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A8EE71A2-79B3-65B5-8F9A-4DB621E23A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86FF557F-5253-8C2D-49AB-64991557F3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70E46-29E4-4446-8443-A55F2362911D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1315371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00C817A1-13BC-5711-1AC0-CAA8474C7D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EC90B9-A9B4-46DC-B2DD-E99B6F022F63}" type="datetimeFigureOut">
              <a:rPr lang="nl-NL" smtClean="0"/>
              <a:t>30-11-2023</a:t>
            </a:fld>
            <a:endParaRPr lang="nl-NL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6298C5BA-557B-FC92-414B-7908E79EDC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FEAF462A-17D1-A853-F7E3-B2B2EA2EB7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70E46-29E4-4446-8443-A55F2362911D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389788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101965-888F-148C-7B9C-5BA58BC08F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5D2740B8-8200-96B3-A6A9-89DEA04898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12068D88-698F-8E5A-D007-E9F284BFC55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12E101B5-425B-7EBB-3EE2-505607F915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EC90B9-A9B4-46DC-B2DD-E99B6F022F63}" type="datetimeFigureOut">
              <a:rPr lang="nl-NL" smtClean="0"/>
              <a:t>30-11-2023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00E8BB00-EBD1-9924-40DA-B3681CD2BF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AB09C8C9-9CDC-037D-3AF5-11814C924D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70E46-29E4-4446-8443-A55F2362911D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538514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803EEC5-54B1-6356-DACB-7CE63C92EF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133A0DFA-0AA0-9B60-5752-4FE78CAA09C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4BEA179B-FEF5-2433-08E9-D7152B7D296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Tijdelijke aanduiding voor datum 4">
            <a:extLst>
              <a:ext uri="{FF2B5EF4-FFF2-40B4-BE49-F238E27FC236}">
                <a16:creationId xmlns:a16="http://schemas.microsoft.com/office/drawing/2014/main" id="{03E7D446-416C-519C-C69D-49A9910D96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EC90B9-A9B4-46DC-B2DD-E99B6F022F63}" type="datetimeFigureOut">
              <a:rPr lang="nl-NL" smtClean="0"/>
              <a:t>30-11-2023</a:t>
            </a:fld>
            <a:endParaRPr lang="nl-NL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CE173575-97E3-E651-1CDE-5628199063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56F68C1C-6C2A-4E4F-A245-F39BCE8B9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870E46-29E4-4446-8443-A55F2362911D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6968207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F303F5A7-1870-BBCA-791F-34B7DA92DF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10406933-B30D-CA91-A4A0-22ED1185DC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470ED8D2-702D-F633-61F6-3303FEE14E1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EC90B9-A9B4-46DC-B2DD-E99B6F022F63}" type="datetimeFigureOut">
              <a:rPr lang="nl-NL" smtClean="0"/>
              <a:t>30-11-2023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BF79607A-0C4B-64D7-7C43-91A22F8BA3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96413776-AB26-4183-7B9C-D737E989FA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870E46-29E4-4446-8443-A55F2362911D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546480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6.png"/><Relationship Id="rId4" Type="http://schemas.openxmlformats.org/officeDocument/2006/relationships/image" Target="../media/image25.sv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2.png"/><Relationship Id="rId4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image" Target="../media/image29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gif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34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sv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12" Type="http://schemas.openxmlformats.org/officeDocument/2006/relationships/image" Target="../media/image17.sv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39.svg"/><Relationship Id="rId11" Type="http://schemas.openxmlformats.org/officeDocument/2006/relationships/image" Target="../media/image16.png"/><Relationship Id="rId5" Type="http://schemas.openxmlformats.org/officeDocument/2006/relationships/image" Target="../media/image38.png"/><Relationship Id="rId10" Type="http://schemas.openxmlformats.org/officeDocument/2006/relationships/image" Target="../media/image43.svg"/><Relationship Id="rId4" Type="http://schemas.openxmlformats.org/officeDocument/2006/relationships/image" Target="../media/image37.svg"/><Relationship Id="rId9" Type="http://schemas.openxmlformats.org/officeDocument/2006/relationships/image" Target="../media/image4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5" Type="http://schemas.openxmlformats.org/officeDocument/2006/relationships/image" Target="../media/image2.png"/><Relationship Id="rId4" Type="http://schemas.openxmlformats.org/officeDocument/2006/relationships/image" Target="../media/image44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3" Type="http://schemas.openxmlformats.org/officeDocument/2006/relationships/image" Target="../media/image46.svg"/><Relationship Id="rId7" Type="http://schemas.openxmlformats.org/officeDocument/2006/relationships/image" Target="../media/image50.svg"/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49.png"/><Relationship Id="rId5" Type="http://schemas.openxmlformats.org/officeDocument/2006/relationships/image" Target="../media/image48.svg"/><Relationship Id="rId4" Type="http://schemas.openxmlformats.org/officeDocument/2006/relationships/image" Target="../media/image47.png"/><Relationship Id="rId9" Type="http://schemas.openxmlformats.org/officeDocument/2006/relationships/image" Target="../media/image52.sv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svg"/><Relationship Id="rId3" Type="http://schemas.openxmlformats.org/officeDocument/2006/relationships/image" Target="../media/image49.png"/><Relationship Id="rId7" Type="http://schemas.openxmlformats.org/officeDocument/2006/relationships/image" Target="../media/image56.pn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5.svg"/><Relationship Id="rId5" Type="http://schemas.openxmlformats.org/officeDocument/2006/relationships/image" Target="../media/image54.png"/><Relationship Id="rId4" Type="http://schemas.openxmlformats.org/officeDocument/2006/relationships/image" Target="../media/image50.sv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60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svg"/><Relationship Id="rId2" Type="http://schemas.openxmlformats.org/officeDocument/2006/relationships/image" Target="../media/image61.png"/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13" Type="http://schemas.openxmlformats.org/officeDocument/2006/relationships/image" Target="../media/image73.svg"/><Relationship Id="rId3" Type="http://schemas.openxmlformats.org/officeDocument/2006/relationships/hyperlink" Target="https://palliatievezorg.nl/2020/10/12/waakmanden-beschikbaar-in-de-bommelerwaard/" TargetMode="External"/><Relationship Id="rId7" Type="http://schemas.openxmlformats.org/officeDocument/2006/relationships/image" Target="../media/image67.svg"/><Relationship Id="rId12" Type="http://schemas.openxmlformats.org/officeDocument/2006/relationships/image" Target="../media/image72.png"/><Relationship Id="rId2" Type="http://schemas.openxmlformats.org/officeDocument/2006/relationships/image" Target="../media/image63.jp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6.png"/><Relationship Id="rId11" Type="http://schemas.openxmlformats.org/officeDocument/2006/relationships/image" Target="../media/image71.svg"/><Relationship Id="rId5" Type="http://schemas.openxmlformats.org/officeDocument/2006/relationships/image" Target="../media/image65.svg"/><Relationship Id="rId15" Type="http://schemas.openxmlformats.org/officeDocument/2006/relationships/image" Target="../media/image75.svg"/><Relationship Id="rId10" Type="http://schemas.openxmlformats.org/officeDocument/2006/relationships/image" Target="../media/image70.png"/><Relationship Id="rId4" Type="http://schemas.openxmlformats.org/officeDocument/2006/relationships/image" Target="../media/image64.png"/><Relationship Id="rId9" Type="http://schemas.openxmlformats.org/officeDocument/2006/relationships/image" Target="../media/image69.svg"/><Relationship Id="rId14" Type="http://schemas.openxmlformats.org/officeDocument/2006/relationships/image" Target="../media/image7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mc.nl/2020/02/19/maxima-mc-neemt-twee-koppelbedden-in-gebruik/" TargetMode="External"/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78.png"/><Relationship Id="rId4" Type="http://schemas.openxmlformats.org/officeDocument/2006/relationships/image" Target="../media/image77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png"/><Relationship Id="rId1" Type="http://schemas.openxmlformats.org/officeDocument/2006/relationships/slideLayout" Target="../slideLayouts/slideLayout17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85.svg"/><Relationship Id="rId13" Type="http://schemas.openxmlformats.org/officeDocument/2006/relationships/image" Target="../media/image90.png"/><Relationship Id="rId3" Type="http://schemas.openxmlformats.org/officeDocument/2006/relationships/image" Target="../media/image80.png"/><Relationship Id="rId7" Type="http://schemas.openxmlformats.org/officeDocument/2006/relationships/image" Target="../media/image84.png"/><Relationship Id="rId12" Type="http://schemas.openxmlformats.org/officeDocument/2006/relationships/image" Target="../media/image89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83.svg"/><Relationship Id="rId11" Type="http://schemas.openxmlformats.org/officeDocument/2006/relationships/image" Target="../media/image88.png"/><Relationship Id="rId5" Type="http://schemas.openxmlformats.org/officeDocument/2006/relationships/image" Target="../media/image82.png"/><Relationship Id="rId10" Type="http://schemas.openxmlformats.org/officeDocument/2006/relationships/image" Target="../media/image87.svg"/><Relationship Id="rId4" Type="http://schemas.openxmlformats.org/officeDocument/2006/relationships/image" Target="../media/image81.svg"/><Relationship Id="rId9" Type="http://schemas.openxmlformats.org/officeDocument/2006/relationships/image" Target="../media/image86.png"/><Relationship Id="rId14" Type="http://schemas.openxmlformats.org/officeDocument/2006/relationships/image" Target="../media/image91.sv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jpeg"/><Relationship Id="rId1" Type="http://schemas.openxmlformats.org/officeDocument/2006/relationships/slideLayout" Target="../slideLayouts/slideLayout1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slideLayout" Target="../slideLayouts/slideLayout14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slide" Target="slide39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slide" Target="slide28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tags" Target="../tags/tag38.xml"/><Relationship Id="rId3" Type="http://schemas.openxmlformats.org/officeDocument/2006/relationships/tags" Target="../tags/tag23.xml"/><Relationship Id="rId21" Type="http://schemas.openxmlformats.org/officeDocument/2006/relationships/slideLayout" Target="../slideLayouts/slideLayout14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tags" Target="../tags/tag37.xml"/><Relationship Id="rId2" Type="http://schemas.openxmlformats.org/officeDocument/2006/relationships/tags" Target="../tags/tag22.xml"/><Relationship Id="rId16" Type="http://schemas.openxmlformats.org/officeDocument/2006/relationships/tags" Target="../tags/tag36.xml"/><Relationship Id="rId20" Type="http://schemas.openxmlformats.org/officeDocument/2006/relationships/tags" Target="../tags/tag40.xml"/><Relationship Id="rId1" Type="http://schemas.openxmlformats.org/officeDocument/2006/relationships/tags" Target="../tags/tag21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23" Type="http://schemas.openxmlformats.org/officeDocument/2006/relationships/slide" Target="slide39.xml"/><Relationship Id="rId10" Type="http://schemas.openxmlformats.org/officeDocument/2006/relationships/tags" Target="../tags/tag30.xml"/><Relationship Id="rId19" Type="http://schemas.openxmlformats.org/officeDocument/2006/relationships/tags" Target="../tags/tag39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Relationship Id="rId22" Type="http://schemas.openxmlformats.org/officeDocument/2006/relationships/slide" Target="slide2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3" Type="http://schemas.openxmlformats.org/officeDocument/2006/relationships/image" Target="../media/image93.png"/><Relationship Id="rId7" Type="http://schemas.openxmlformats.org/officeDocument/2006/relationships/image" Target="../media/image97.sv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96.png"/><Relationship Id="rId11" Type="http://schemas.openxmlformats.org/officeDocument/2006/relationships/image" Target="../media/image101.svg"/><Relationship Id="rId5" Type="http://schemas.openxmlformats.org/officeDocument/2006/relationships/image" Target="../media/image95.png"/><Relationship Id="rId10" Type="http://schemas.openxmlformats.org/officeDocument/2006/relationships/image" Target="../media/image100.png"/><Relationship Id="rId4" Type="http://schemas.openxmlformats.org/officeDocument/2006/relationships/image" Target="../media/image94.svg"/><Relationship Id="rId9" Type="http://schemas.openxmlformats.org/officeDocument/2006/relationships/image" Target="../media/image99.sv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14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4.xml"/><Relationship Id="rId4" Type="http://schemas.openxmlformats.org/officeDocument/2006/relationships/chart" Target="../charts/chart5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7" Type="http://schemas.openxmlformats.org/officeDocument/2006/relationships/chart" Target="../charts/chart7.xml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07.svg"/><Relationship Id="rId5" Type="http://schemas.openxmlformats.org/officeDocument/2006/relationships/image" Target="../media/image106.png"/><Relationship Id="rId4" Type="http://schemas.openxmlformats.org/officeDocument/2006/relationships/image" Target="../media/image105.sv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07.svg"/><Relationship Id="rId5" Type="http://schemas.openxmlformats.org/officeDocument/2006/relationships/image" Target="../media/image106.png"/><Relationship Id="rId4" Type="http://schemas.openxmlformats.org/officeDocument/2006/relationships/image" Target="../media/image105.svg"/></Relationships>
</file>

<file path=ppt/slides/_rels/slide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3" Type="http://schemas.openxmlformats.org/officeDocument/2006/relationships/image" Target="../media/image93.png"/><Relationship Id="rId7" Type="http://schemas.openxmlformats.org/officeDocument/2006/relationships/image" Target="../media/image97.sv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96.png"/><Relationship Id="rId11" Type="http://schemas.openxmlformats.org/officeDocument/2006/relationships/image" Target="../media/image101.svg"/><Relationship Id="rId5" Type="http://schemas.openxmlformats.org/officeDocument/2006/relationships/image" Target="../media/image95.png"/><Relationship Id="rId10" Type="http://schemas.openxmlformats.org/officeDocument/2006/relationships/image" Target="../media/image100.png"/><Relationship Id="rId4" Type="http://schemas.openxmlformats.org/officeDocument/2006/relationships/image" Target="../media/image94.svg"/><Relationship Id="rId9" Type="http://schemas.openxmlformats.org/officeDocument/2006/relationships/image" Target="../media/image99.svg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png"/><Relationship Id="rId1" Type="http://schemas.openxmlformats.org/officeDocument/2006/relationships/slideLayout" Target="../slideLayouts/slideLayout1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8.png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11.svg"/><Relationship Id="rId5" Type="http://schemas.openxmlformats.org/officeDocument/2006/relationships/image" Target="../media/image110.png"/><Relationship Id="rId4" Type="http://schemas.openxmlformats.org/officeDocument/2006/relationships/image" Target="../media/image109.sv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3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8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notesSlide" Target="../notesSlides/notesSlide1.xml"/></Relationships>
</file>

<file path=ppt/slides/_rels/slide40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tags" Target="../tags/tag53.xml"/><Relationship Id="rId18" Type="http://schemas.openxmlformats.org/officeDocument/2006/relationships/tags" Target="../tags/tag58.xml"/><Relationship Id="rId3" Type="http://schemas.openxmlformats.org/officeDocument/2006/relationships/tags" Target="../tags/tag43.xml"/><Relationship Id="rId21" Type="http://schemas.openxmlformats.org/officeDocument/2006/relationships/slideLayout" Target="../slideLayouts/slideLayout14.xml"/><Relationship Id="rId7" Type="http://schemas.openxmlformats.org/officeDocument/2006/relationships/tags" Target="../tags/tag47.xml"/><Relationship Id="rId12" Type="http://schemas.openxmlformats.org/officeDocument/2006/relationships/tags" Target="../tags/tag52.xml"/><Relationship Id="rId17" Type="http://schemas.openxmlformats.org/officeDocument/2006/relationships/tags" Target="../tags/tag57.xml"/><Relationship Id="rId2" Type="http://schemas.openxmlformats.org/officeDocument/2006/relationships/tags" Target="../tags/tag42.xml"/><Relationship Id="rId16" Type="http://schemas.openxmlformats.org/officeDocument/2006/relationships/tags" Target="../tags/tag56.xml"/><Relationship Id="rId20" Type="http://schemas.openxmlformats.org/officeDocument/2006/relationships/tags" Target="../tags/tag60.xml"/><Relationship Id="rId1" Type="http://schemas.openxmlformats.org/officeDocument/2006/relationships/tags" Target="../tags/tag41.xml"/><Relationship Id="rId6" Type="http://schemas.openxmlformats.org/officeDocument/2006/relationships/tags" Target="../tags/tag46.xml"/><Relationship Id="rId11" Type="http://schemas.openxmlformats.org/officeDocument/2006/relationships/tags" Target="../tags/tag51.xml"/><Relationship Id="rId5" Type="http://schemas.openxmlformats.org/officeDocument/2006/relationships/tags" Target="../tags/tag45.xml"/><Relationship Id="rId15" Type="http://schemas.openxmlformats.org/officeDocument/2006/relationships/tags" Target="../tags/tag55.xml"/><Relationship Id="rId23" Type="http://schemas.openxmlformats.org/officeDocument/2006/relationships/slide" Target="slide39.xml"/><Relationship Id="rId10" Type="http://schemas.openxmlformats.org/officeDocument/2006/relationships/tags" Target="../tags/tag50.xml"/><Relationship Id="rId19" Type="http://schemas.openxmlformats.org/officeDocument/2006/relationships/tags" Target="../tags/tag59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tags" Target="../tags/tag54.xml"/><Relationship Id="rId22" Type="http://schemas.openxmlformats.org/officeDocument/2006/relationships/slide" Target="slide28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3" Type="http://schemas.openxmlformats.org/officeDocument/2006/relationships/image" Target="../media/image93.png"/><Relationship Id="rId7" Type="http://schemas.openxmlformats.org/officeDocument/2006/relationships/image" Target="../media/image113.sv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12.png"/><Relationship Id="rId11" Type="http://schemas.openxmlformats.org/officeDocument/2006/relationships/image" Target="../media/image101.svg"/><Relationship Id="rId5" Type="http://schemas.openxmlformats.org/officeDocument/2006/relationships/image" Target="../media/image95.png"/><Relationship Id="rId10" Type="http://schemas.openxmlformats.org/officeDocument/2006/relationships/image" Target="../media/image100.png"/><Relationship Id="rId4" Type="http://schemas.openxmlformats.org/officeDocument/2006/relationships/image" Target="../media/image94.svg"/><Relationship Id="rId9" Type="http://schemas.openxmlformats.org/officeDocument/2006/relationships/image" Target="../media/image99.svg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svg"/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14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svg"/><Relationship Id="rId7" Type="http://schemas.openxmlformats.org/officeDocument/2006/relationships/image" Target="../media/image119.sv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18.png"/><Relationship Id="rId5" Type="http://schemas.openxmlformats.org/officeDocument/2006/relationships/image" Target="../media/image117.svg"/><Relationship Id="rId4" Type="http://schemas.openxmlformats.org/officeDocument/2006/relationships/image" Target="../media/image116.png"/></Relationships>
</file>

<file path=ppt/slides/_rels/slide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svg"/><Relationship Id="rId3" Type="http://schemas.openxmlformats.org/officeDocument/2006/relationships/image" Target="../media/image94.svg"/><Relationship Id="rId7" Type="http://schemas.openxmlformats.org/officeDocument/2006/relationships/image" Target="../media/image98.png"/><Relationship Id="rId2" Type="http://schemas.openxmlformats.org/officeDocument/2006/relationships/image" Target="../media/image93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13.svg"/><Relationship Id="rId5" Type="http://schemas.openxmlformats.org/officeDocument/2006/relationships/image" Target="../media/image112.png"/><Relationship Id="rId10" Type="http://schemas.openxmlformats.org/officeDocument/2006/relationships/image" Target="../media/image101.svg"/><Relationship Id="rId4" Type="http://schemas.openxmlformats.org/officeDocument/2006/relationships/image" Target="../media/image95.png"/><Relationship Id="rId9" Type="http://schemas.openxmlformats.org/officeDocument/2006/relationships/image" Target="../media/image100.png"/></Relationships>
</file>

<file path=ppt/slides/_rels/slide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9.svg"/><Relationship Id="rId3" Type="http://schemas.openxmlformats.org/officeDocument/2006/relationships/image" Target="../media/image121.svg"/><Relationship Id="rId7" Type="http://schemas.openxmlformats.org/officeDocument/2006/relationships/image" Target="../media/image98.png"/><Relationship Id="rId2" Type="http://schemas.openxmlformats.org/officeDocument/2006/relationships/image" Target="../media/image120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13.svg"/><Relationship Id="rId5" Type="http://schemas.openxmlformats.org/officeDocument/2006/relationships/image" Target="../media/image112.png"/><Relationship Id="rId10" Type="http://schemas.openxmlformats.org/officeDocument/2006/relationships/image" Target="../media/image101.svg"/><Relationship Id="rId4" Type="http://schemas.openxmlformats.org/officeDocument/2006/relationships/image" Target="../media/image95.png"/><Relationship Id="rId9" Type="http://schemas.openxmlformats.org/officeDocument/2006/relationships/image" Target="../media/image100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image" Target="../media/image122.jpeg"/><Relationship Id="rId1" Type="http://schemas.openxmlformats.org/officeDocument/2006/relationships/slideLayout" Target="../slideLayouts/slideLayout15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3.png"/><Relationship Id="rId3" Type="http://schemas.openxmlformats.org/officeDocument/2006/relationships/image" Target="../media/image93.png"/><Relationship Id="rId7" Type="http://schemas.openxmlformats.org/officeDocument/2006/relationships/image" Target="../media/image97.sv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96.png"/><Relationship Id="rId11" Type="http://schemas.openxmlformats.org/officeDocument/2006/relationships/image" Target="../media/image101.svg"/><Relationship Id="rId5" Type="http://schemas.openxmlformats.org/officeDocument/2006/relationships/image" Target="../media/image95.png"/><Relationship Id="rId10" Type="http://schemas.openxmlformats.org/officeDocument/2006/relationships/image" Target="../media/image100.png"/><Relationship Id="rId4" Type="http://schemas.openxmlformats.org/officeDocument/2006/relationships/image" Target="../media/image94.svg"/><Relationship Id="rId9" Type="http://schemas.openxmlformats.org/officeDocument/2006/relationships/image" Target="../media/image124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1.jpeg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0.svg"/><Relationship Id="rId13" Type="http://schemas.openxmlformats.org/officeDocument/2006/relationships/image" Target="../media/image124.svg"/><Relationship Id="rId3" Type="http://schemas.openxmlformats.org/officeDocument/2006/relationships/image" Target="../media/image125.png"/><Relationship Id="rId7" Type="http://schemas.openxmlformats.org/officeDocument/2006/relationships/image" Target="../media/image129.png"/><Relationship Id="rId12" Type="http://schemas.openxmlformats.org/officeDocument/2006/relationships/image" Target="../media/image123.png"/><Relationship Id="rId17" Type="http://schemas.openxmlformats.org/officeDocument/2006/relationships/image" Target="../media/image132.svg"/><Relationship Id="rId2" Type="http://schemas.openxmlformats.org/officeDocument/2006/relationships/notesSlide" Target="../notesSlides/notesSlide14.xml"/><Relationship Id="rId16" Type="http://schemas.openxmlformats.org/officeDocument/2006/relationships/image" Target="../media/image131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28.svg"/><Relationship Id="rId11" Type="http://schemas.openxmlformats.org/officeDocument/2006/relationships/image" Target="../media/image97.svg"/><Relationship Id="rId5" Type="http://schemas.openxmlformats.org/officeDocument/2006/relationships/image" Target="../media/image127.png"/><Relationship Id="rId15" Type="http://schemas.openxmlformats.org/officeDocument/2006/relationships/image" Target="../media/image101.svg"/><Relationship Id="rId10" Type="http://schemas.openxmlformats.org/officeDocument/2006/relationships/image" Target="../media/image96.png"/><Relationship Id="rId4" Type="http://schemas.openxmlformats.org/officeDocument/2006/relationships/image" Target="../media/image126.svg"/><Relationship Id="rId9" Type="http://schemas.openxmlformats.org/officeDocument/2006/relationships/image" Target="../media/image95.png"/><Relationship Id="rId14" Type="http://schemas.openxmlformats.org/officeDocument/2006/relationships/image" Target="../media/image100.png"/></Relationships>
</file>

<file path=ppt/slides/_rels/slide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8.png"/><Relationship Id="rId3" Type="http://schemas.openxmlformats.org/officeDocument/2006/relationships/image" Target="../media/image93.png"/><Relationship Id="rId7" Type="http://schemas.openxmlformats.org/officeDocument/2006/relationships/image" Target="../media/image97.sv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96.png"/><Relationship Id="rId11" Type="http://schemas.openxmlformats.org/officeDocument/2006/relationships/image" Target="../media/image37.svg"/><Relationship Id="rId5" Type="http://schemas.openxmlformats.org/officeDocument/2006/relationships/image" Target="../media/image95.png"/><Relationship Id="rId10" Type="http://schemas.openxmlformats.org/officeDocument/2006/relationships/image" Target="../media/image36.png"/><Relationship Id="rId4" Type="http://schemas.openxmlformats.org/officeDocument/2006/relationships/image" Target="../media/image94.svg"/><Relationship Id="rId9" Type="http://schemas.openxmlformats.org/officeDocument/2006/relationships/image" Target="../media/image99.svg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3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13" Type="http://schemas.openxmlformats.org/officeDocument/2006/relationships/tags" Target="../tags/tag73.xml"/><Relationship Id="rId18" Type="http://schemas.openxmlformats.org/officeDocument/2006/relationships/tags" Target="../tags/tag78.xml"/><Relationship Id="rId3" Type="http://schemas.openxmlformats.org/officeDocument/2006/relationships/tags" Target="../tags/tag63.xml"/><Relationship Id="rId21" Type="http://schemas.openxmlformats.org/officeDocument/2006/relationships/slideLayout" Target="../slideLayouts/slideLayout14.xml"/><Relationship Id="rId7" Type="http://schemas.openxmlformats.org/officeDocument/2006/relationships/tags" Target="../tags/tag67.xml"/><Relationship Id="rId12" Type="http://schemas.openxmlformats.org/officeDocument/2006/relationships/tags" Target="../tags/tag72.xml"/><Relationship Id="rId17" Type="http://schemas.openxmlformats.org/officeDocument/2006/relationships/tags" Target="../tags/tag77.xml"/><Relationship Id="rId2" Type="http://schemas.openxmlformats.org/officeDocument/2006/relationships/tags" Target="../tags/tag62.xml"/><Relationship Id="rId16" Type="http://schemas.openxmlformats.org/officeDocument/2006/relationships/tags" Target="../tags/tag76.xml"/><Relationship Id="rId20" Type="http://schemas.openxmlformats.org/officeDocument/2006/relationships/tags" Target="../tags/tag80.xml"/><Relationship Id="rId1" Type="http://schemas.openxmlformats.org/officeDocument/2006/relationships/tags" Target="../tags/tag61.xml"/><Relationship Id="rId6" Type="http://schemas.openxmlformats.org/officeDocument/2006/relationships/tags" Target="../tags/tag66.xml"/><Relationship Id="rId11" Type="http://schemas.openxmlformats.org/officeDocument/2006/relationships/tags" Target="../tags/tag71.xml"/><Relationship Id="rId5" Type="http://schemas.openxmlformats.org/officeDocument/2006/relationships/tags" Target="../tags/tag65.xml"/><Relationship Id="rId15" Type="http://schemas.openxmlformats.org/officeDocument/2006/relationships/tags" Target="../tags/tag75.xml"/><Relationship Id="rId23" Type="http://schemas.openxmlformats.org/officeDocument/2006/relationships/slide" Target="slide39.xml"/><Relationship Id="rId10" Type="http://schemas.openxmlformats.org/officeDocument/2006/relationships/tags" Target="../tags/tag70.xml"/><Relationship Id="rId19" Type="http://schemas.openxmlformats.org/officeDocument/2006/relationships/tags" Target="../tags/tag79.xml"/><Relationship Id="rId4" Type="http://schemas.openxmlformats.org/officeDocument/2006/relationships/tags" Target="../tags/tag64.xml"/><Relationship Id="rId9" Type="http://schemas.openxmlformats.org/officeDocument/2006/relationships/tags" Target="../tags/tag69.xml"/><Relationship Id="rId14" Type="http://schemas.openxmlformats.org/officeDocument/2006/relationships/tags" Target="../tags/tag74.xml"/><Relationship Id="rId22" Type="http://schemas.openxmlformats.org/officeDocument/2006/relationships/slide" Target="slide28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svg"/><Relationship Id="rId2" Type="http://schemas.openxmlformats.org/officeDocument/2006/relationships/image" Target="../media/image133.png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135.jpeg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7.svg"/><Relationship Id="rId13" Type="http://schemas.openxmlformats.org/officeDocument/2006/relationships/image" Target="../media/image142.png"/><Relationship Id="rId3" Type="http://schemas.openxmlformats.org/officeDocument/2006/relationships/image" Target="../media/image45.png"/><Relationship Id="rId7" Type="http://schemas.openxmlformats.org/officeDocument/2006/relationships/image" Target="../media/image136.png"/><Relationship Id="rId12" Type="http://schemas.openxmlformats.org/officeDocument/2006/relationships/image" Target="../media/image141.svg"/><Relationship Id="rId2" Type="http://schemas.openxmlformats.org/officeDocument/2006/relationships/image" Target="../media/image135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1.svg"/><Relationship Id="rId11" Type="http://schemas.openxmlformats.org/officeDocument/2006/relationships/image" Target="../media/image140.png"/><Relationship Id="rId5" Type="http://schemas.openxmlformats.org/officeDocument/2006/relationships/image" Target="../media/image40.png"/><Relationship Id="rId10" Type="http://schemas.openxmlformats.org/officeDocument/2006/relationships/image" Target="../media/image139.svg"/><Relationship Id="rId4" Type="http://schemas.openxmlformats.org/officeDocument/2006/relationships/image" Target="../media/image46.svg"/><Relationship Id="rId9" Type="http://schemas.openxmlformats.org/officeDocument/2006/relationships/image" Target="../media/image138.png"/><Relationship Id="rId14" Type="http://schemas.openxmlformats.org/officeDocument/2006/relationships/image" Target="../media/image143.sv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svg"/><Relationship Id="rId2" Type="http://schemas.openxmlformats.org/officeDocument/2006/relationships/image" Target="../media/image144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46.jpg"/><Relationship Id="rId5" Type="http://schemas.openxmlformats.org/officeDocument/2006/relationships/image" Target="../media/image134.svg"/><Relationship Id="rId4" Type="http://schemas.openxmlformats.org/officeDocument/2006/relationships/image" Target="../media/image133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svg"/><Relationship Id="rId2" Type="http://schemas.openxmlformats.org/officeDocument/2006/relationships/image" Target="../media/image144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34.svg"/><Relationship Id="rId5" Type="http://schemas.openxmlformats.org/officeDocument/2006/relationships/image" Target="../media/image133.png"/><Relationship Id="rId4" Type="http://schemas.openxmlformats.org/officeDocument/2006/relationships/image" Target="../media/image146.jp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svg"/><Relationship Id="rId2" Type="http://schemas.openxmlformats.org/officeDocument/2006/relationships/image" Target="../media/image144.png"/><Relationship Id="rId1" Type="http://schemas.openxmlformats.org/officeDocument/2006/relationships/slideLayout" Target="../slideLayouts/slideLayout15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svg"/><Relationship Id="rId2" Type="http://schemas.openxmlformats.org/officeDocument/2006/relationships/image" Target="../media/image144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47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3.xml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svg"/><Relationship Id="rId7" Type="http://schemas.openxmlformats.org/officeDocument/2006/relationships/image" Target="../media/image148.png"/><Relationship Id="rId2" Type="http://schemas.openxmlformats.org/officeDocument/2006/relationships/image" Target="../media/image144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03.png"/><Relationship Id="rId5" Type="http://schemas.openxmlformats.org/officeDocument/2006/relationships/image" Target="../media/image102.png"/><Relationship Id="rId4" Type="http://schemas.openxmlformats.org/officeDocument/2006/relationships/image" Target="../media/image147.jp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svg"/><Relationship Id="rId2" Type="http://schemas.openxmlformats.org/officeDocument/2006/relationships/image" Target="../media/image144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34.svg"/><Relationship Id="rId5" Type="http://schemas.openxmlformats.org/officeDocument/2006/relationships/image" Target="../media/image133.png"/><Relationship Id="rId4" Type="http://schemas.openxmlformats.org/officeDocument/2006/relationships/image" Target="../media/image147.jpg"/></Relationships>
</file>

<file path=ppt/slides/_rels/slide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svg"/><Relationship Id="rId2" Type="http://schemas.openxmlformats.org/officeDocument/2006/relationships/image" Target="../media/image144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94.svg"/><Relationship Id="rId5" Type="http://schemas.openxmlformats.org/officeDocument/2006/relationships/image" Target="../media/image93.png"/><Relationship Id="rId4" Type="http://schemas.openxmlformats.org/officeDocument/2006/relationships/image" Target="../media/image147.jpg"/></Relationships>
</file>

<file path=ppt/slides/_rels/slide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5.svg"/><Relationship Id="rId2" Type="http://schemas.openxmlformats.org/officeDocument/2006/relationships/image" Target="../media/image144.png"/><Relationship Id="rId1" Type="http://schemas.openxmlformats.org/officeDocument/2006/relationships/slideLayout" Target="../slideLayouts/slideLayout15.xml"/></Relationships>
</file>

<file path=ppt/slides/_rels/slide6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8.svg"/><Relationship Id="rId3" Type="http://schemas.openxmlformats.org/officeDocument/2006/relationships/image" Target="../media/image145.svg"/><Relationship Id="rId7" Type="http://schemas.openxmlformats.org/officeDocument/2006/relationships/image" Target="../media/image127.png"/><Relationship Id="rId2" Type="http://schemas.openxmlformats.org/officeDocument/2006/relationships/image" Target="../media/image144.pn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50.svg"/><Relationship Id="rId5" Type="http://schemas.openxmlformats.org/officeDocument/2006/relationships/image" Target="../media/image149.png"/><Relationship Id="rId4" Type="http://schemas.openxmlformats.org/officeDocument/2006/relationships/image" Target="../media/image147.jpg"/></Relationships>
</file>

<file path=ppt/slides/_rels/slide65.xml.rels><?xml version="1.0" encoding="UTF-8" standalone="yes"?>
<Relationships xmlns="http://schemas.openxmlformats.org/package/2006/relationships"><Relationship Id="rId8" Type="http://schemas.openxmlformats.org/officeDocument/2006/relationships/tags" Target="../tags/tag88.xml"/><Relationship Id="rId13" Type="http://schemas.openxmlformats.org/officeDocument/2006/relationships/tags" Target="../tags/tag93.xml"/><Relationship Id="rId18" Type="http://schemas.openxmlformats.org/officeDocument/2006/relationships/tags" Target="../tags/tag98.xml"/><Relationship Id="rId3" Type="http://schemas.openxmlformats.org/officeDocument/2006/relationships/tags" Target="../tags/tag83.xml"/><Relationship Id="rId21" Type="http://schemas.openxmlformats.org/officeDocument/2006/relationships/slideLayout" Target="../slideLayouts/slideLayout14.xml"/><Relationship Id="rId7" Type="http://schemas.openxmlformats.org/officeDocument/2006/relationships/tags" Target="../tags/tag87.xml"/><Relationship Id="rId12" Type="http://schemas.openxmlformats.org/officeDocument/2006/relationships/tags" Target="../tags/tag92.xml"/><Relationship Id="rId17" Type="http://schemas.openxmlformats.org/officeDocument/2006/relationships/tags" Target="../tags/tag97.xml"/><Relationship Id="rId2" Type="http://schemas.openxmlformats.org/officeDocument/2006/relationships/tags" Target="../tags/tag82.xml"/><Relationship Id="rId16" Type="http://schemas.openxmlformats.org/officeDocument/2006/relationships/tags" Target="../tags/tag96.xml"/><Relationship Id="rId20" Type="http://schemas.openxmlformats.org/officeDocument/2006/relationships/tags" Target="../tags/tag100.xml"/><Relationship Id="rId1" Type="http://schemas.openxmlformats.org/officeDocument/2006/relationships/tags" Target="../tags/tag81.xml"/><Relationship Id="rId6" Type="http://schemas.openxmlformats.org/officeDocument/2006/relationships/tags" Target="../tags/tag86.xml"/><Relationship Id="rId11" Type="http://schemas.openxmlformats.org/officeDocument/2006/relationships/tags" Target="../tags/tag91.xml"/><Relationship Id="rId5" Type="http://schemas.openxmlformats.org/officeDocument/2006/relationships/tags" Target="../tags/tag85.xml"/><Relationship Id="rId15" Type="http://schemas.openxmlformats.org/officeDocument/2006/relationships/tags" Target="../tags/tag95.xml"/><Relationship Id="rId23" Type="http://schemas.openxmlformats.org/officeDocument/2006/relationships/slide" Target="slide39.xml"/><Relationship Id="rId10" Type="http://schemas.openxmlformats.org/officeDocument/2006/relationships/tags" Target="../tags/tag90.xml"/><Relationship Id="rId19" Type="http://schemas.openxmlformats.org/officeDocument/2006/relationships/tags" Target="../tags/tag99.xml"/><Relationship Id="rId4" Type="http://schemas.openxmlformats.org/officeDocument/2006/relationships/tags" Target="../tags/tag84.xml"/><Relationship Id="rId9" Type="http://schemas.openxmlformats.org/officeDocument/2006/relationships/tags" Target="../tags/tag89.xml"/><Relationship Id="rId14" Type="http://schemas.openxmlformats.org/officeDocument/2006/relationships/tags" Target="../tags/tag94.xml"/><Relationship Id="rId22" Type="http://schemas.openxmlformats.org/officeDocument/2006/relationships/slide" Target="slide28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0.xml"/><Relationship Id="rId1" Type="http://schemas.openxmlformats.org/officeDocument/2006/relationships/slideLayout" Target="../slideLayouts/slideLayout14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1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.xml"/><Relationship Id="rId4" Type="http://schemas.openxmlformats.org/officeDocument/2006/relationships/chart" Target="../charts/chart11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3.png"/><Relationship Id="rId2" Type="http://schemas.openxmlformats.org/officeDocument/2006/relationships/image" Target="../media/image152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56.svg"/><Relationship Id="rId5" Type="http://schemas.openxmlformats.org/officeDocument/2006/relationships/image" Target="../media/image155.png"/><Relationship Id="rId4" Type="http://schemas.openxmlformats.org/officeDocument/2006/relationships/image" Target="../media/image154.svg"/></Relationships>
</file>

<file path=ppt/slides/_rels/slide69.xml.rels><?xml version="1.0" encoding="UTF-8" standalone="yes"?>
<Relationships xmlns="http://schemas.openxmlformats.org/package/2006/relationships"><Relationship Id="rId8" Type="http://schemas.openxmlformats.org/officeDocument/2006/relationships/tags" Target="../tags/tag108.xml"/><Relationship Id="rId13" Type="http://schemas.openxmlformats.org/officeDocument/2006/relationships/tags" Target="../tags/tag113.xml"/><Relationship Id="rId18" Type="http://schemas.openxmlformats.org/officeDocument/2006/relationships/tags" Target="../tags/tag118.xml"/><Relationship Id="rId3" Type="http://schemas.openxmlformats.org/officeDocument/2006/relationships/tags" Target="../tags/tag103.xml"/><Relationship Id="rId21" Type="http://schemas.openxmlformats.org/officeDocument/2006/relationships/slideLayout" Target="../slideLayouts/slideLayout14.xml"/><Relationship Id="rId7" Type="http://schemas.openxmlformats.org/officeDocument/2006/relationships/tags" Target="../tags/tag107.xml"/><Relationship Id="rId12" Type="http://schemas.openxmlformats.org/officeDocument/2006/relationships/tags" Target="../tags/tag112.xml"/><Relationship Id="rId17" Type="http://schemas.openxmlformats.org/officeDocument/2006/relationships/tags" Target="../tags/tag117.xml"/><Relationship Id="rId2" Type="http://schemas.openxmlformats.org/officeDocument/2006/relationships/tags" Target="../tags/tag102.xml"/><Relationship Id="rId16" Type="http://schemas.openxmlformats.org/officeDocument/2006/relationships/tags" Target="../tags/tag116.xml"/><Relationship Id="rId20" Type="http://schemas.openxmlformats.org/officeDocument/2006/relationships/tags" Target="../tags/tag120.xml"/><Relationship Id="rId1" Type="http://schemas.openxmlformats.org/officeDocument/2006/relationships/tags" Target="../tags/tag101.xml"/><Relationship Id="rId6" Type="http://schemas.openxmlformats.org/officeDocument/2006/relationships/tags" Target="../tags/tag106.xml"/><Relationship Id="rId11" Type="http://schemas.openxmlformats.org/officeDocument/2006/relationships/tags" Target="../tags/tag111.xml"/><Relationship Id="rId5" Type="http://schemas.openxmlformats.org/officeDocument/2006/relationships/tags" Target="../tags/tag105.xml"/><Relationship Id="rId15" Type="http://schemas.openxmlformats.org/officeDocument/2006/relationships/tags" Target="../tags/tag115.xml"/><Relationship Id="rId23" Type="http://schemas.openxmlformats.org/officeDocument/2006/relationships/slide" Target="slide39.xml"/><Relationship Id="rId10" Type="http://schemas.openxmlformats.org/officeDocument/2006/relationships/tags" Target="../tags/tag110.xml"/><Relationship Id="rId19" Type="http://schemas.openxmlformats.org/officeDocument/2006/relationships/tags" Target="../tags/tag119.xml"/><Relationship Id="rId4" Type="http://schemas.openxmlformats.org/officeDocument/2006/relationships/tags" Target="../tags/tag104.xml"/><Relationship Id="rId9" Type="http://schemas.openxmlformats.org/officeDocument/2006/relationships/tags" Target="../tags/tag109.xml"/><Relationship Id="rId14" Type="http://schemas.openxmlformats.org/officeDocument/2006/relationships/tags" Target="../tags/tag114.xml"/><Relationship Id="rId22" Type="http://schemas.openxmlformats.org/officeDocument/2006/relationships/slide" Target="slide2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7" Type="http://schemas.openxmlformats.org/officeDocument/2006/relationships/image" Target="../media/image17.sv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6.png"/><Relationship Id="rId5" Type="http://schemas.openxmlformats.org/officeDocument/2006/relationships/image" Target="../media/image15.svg"/><Relationship Id="rId4" Type="http://schemas.openxmlformats.org/officeDocument/2006/relationships/image" Target="../media/image14.png"/></Relationships>
</file>

<file path=ppt/slides/_rels/slide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3.png"/><Relationship Id="rId3" Type="http://schemas.openxmlformats.org/officeDocument/2006/relationships/image" Target="../media/image158.svg"/><Relationship Id="rId7" Type="http://schemas.openxmlformats.org/officeDocument/2006/relationships/image" Target="../media/image162.svg"/><Relationship Id="rId2" Type="http://schemas.openxmlformats.org/officeDocument/2006/relationships/image" Target="../media/image157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61.png"/><Relationship Id="rId5" Type="http://schemas.openxmlformats.org/officeDocument/2006/relationships/image" Target="../media/image160.svg"/><Relationship Id="rId10" Type="http://schemas.openxmlformats.org/officeDocument/2006/relationships/image" Target="../media/image165.jpeg"/><Relationship Id="rId4" Type="http://schemas.openxmlformats.org/officeDocument/2006/relationships/image" Target="../media/image159.png"/><Relationship Id="rId9" Type="http://schemas.openxmlformats.org/officeDocument/2006/relationships/image" Target="../media/image164.svg"/></Relationships>
</file>

<file path=ppt/slides/_rels/slide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2.jpeg"/><Relationship Id="rId7" Type="http://schemas.openxmlformats.org/officeDocument/2006/relationships/image" Target="../media/image170.svg"/><Relationship Id="rId2" Type="http://schemas.openxmlformats.org/officeDocument/2006/relationships/image" Target="../media/image166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169.png"/><Relationship Id="rId5" Type="http://schemas.openxmlformats.org/officeDocument/2006/relationships/image" Target="../media/image168.svg"/><Relationship Id="rId4" Type="http://schemas.openxmlformats.org/officeDocument/2006/relationships/image" Target="../media/image167.png"/></Relationships>
</file>

<file path=ppt/slides/_rels/slide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2.png"/><Relationship Id="rId2" Type="http://schemas.openxmlformats.org/officeDocument/2006/relationships/image" Target="../media/image171.jp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0.png"/><Relationship Id="rId4" Type="http://schemas.openxmlformats.org/officeDocument/2006/relationships/image" Target="../media/image19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23.png"/><Relationship Id="rId4" Type="http://schemas.openxmlformats.org/officeDocument/2006/relationships/image" Target="../media/image2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9" name="Afbeelding 8" descr="Afbeelding met tekst, Menselijk gezicht, persoon, person&#10;&#10;Automatisch gegenereerde beschrijving">
            <a:extLst>
              <a:ext uri="{FF2B5EF4-FFF2-40B4-BE49-F238E27FC236}">
                <a16:creationId xmlns:a16="http://schemas.microsoft.com/office/drawing/2014/main" id="{87ABB29E-352F-3991-09C0-025C4673522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94" r="-1" b="-1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41140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: Diagonal Corners Rounded 25">
            <a:extLst>
              <a:ext uri="{FF2B5EF4-FFF2-40B4-BE49-F238E27FC236}">
                <a16:creationId xmlns:a16="http://schemas.microsoft.com/office/drawing/2014/main" id="{BD99AA61-D251-4191-8118-F323546B11F8}"/>
              </a:ext>
            </a:extLst>
          </p:cNvPr>
          <p:cNvSpPr/>
          <p:nvPr/>
        </p:nvSpPr>
        <p:spPr>
          <a:xfrm>
            <a:off x="8254999" y="5173449"/>
            <a:ext cx="3575050" cy="962637"/>
          </a:xfrm>
          <a:prstGeom prst="round2DiagRect">
            <a:avLst>
              <a:gd name="adj1" fmla="val 22645"/>
              <a:gd name="adj2" fmla="val 0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0BA35711-4CC8-41AE-87E2-6062569C127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794556" y="2214480"/>
            <a:ext cx="7035493" cy="177935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8B00BCE-8E3F-4C34-9A4A-BF194F1FB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Langdurige, geleidelijke achteruitgang</a:t>
            </a:r>
            <a:br>
              <a:rPr lang="nl-NL" dirty="0"/>
            </a:br>
            <a:r>
              <a:rPr lang="nl-NL" dirty="0">
                <a:solidFill>
                  <a:schemeClr val="accent6"/>
                </a:solidFill>
                <a:latin typeface="EB Garamond" panose="00000500000000000000" pitchFamily="2" charset="0"/>
                <a:ea typeface="EB Garamond" panose="00000500000000000000" pitchFamily="2" charset="0"/>
              </a:rPr>
              <a:t>Vaak kwetsbare ouderen en dementerenden</a:t>
            </a:r>
            <a:br>
              <a:rPr kumimoji="0" lang="nl-NL" sz="2800" b="0" i="0" u="none" strike="noStrike" kern="1200" cap="none" spc="-1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</a:br>
            <a:endParaRPr lang="nl-NL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FB2416D-9C33-4910-AD61-8605207570CB}"/>
              </a:ext>
            </a:extLst>
          </p:cNvPr>
          <p:cNvSpPr/>
          <p:nvPr/>
        </p:nvSpPr>
        <p:spPr>
          <a:xfrm>
            <a:off x="370751" y="1449388"/>
            <a:ext cx="3575775" cy="4679949"/>
          </a:xfrm>
          <a:prstGeom prst="rect">
            <a:avLst/>
          </a:prstGeom>
          <a:solidFill>
            <a:srgbClr val="EEE8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5F4C480-3076-4EFB-9410-F04AE4892D4A}"/>
              </a:ext>
            </a:extLst>
          </p:cNvPr>
          <p:cNvSpPr txBox="1"/>
          <p:nvPr/>
        </p:nvSpPr>
        <p:spPr>
          <a:xfrm>
            <a:off x="8481690" y="5500879"/>
            <a:ext cx="312166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"/>
                <a:ea typeface="+mn-ea"/>
                <a:cs typeface="+mn-cs"/>
              </a:rPr>
              <a:t>Enigszins variabel circa </a:t>
            </a: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"/>
                <a:ea typeface="+mn-ea"/>
                <a:cs typeface="+mn-cs"/>
              </a:rPr>
              <a:t>6 tot 8 jaar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A2FEF58-FE8B-41C5-8BD0-24479193F981}"/>
              </a:ext>
            </a:extLst>
          </p:cNvPr>
          <p:cNvSpPr txBox="1"/>
          <p:nvPr/>
        </p:nvSpPr>
        <p:spPr>
          <a:xfrm>
            <a:off x="10524798" y="4106746"/>
            <a:ext cx="175321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/>
                <a:ea typeface="+mn-ea"/>
                <a:cs typeface="+mn-cs"/>
              </a:rPr>
              <a:t>Overlijden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9046F41-CE08-4C3F-9802-F4402FE31A1E}"/>
              </a:ext>
            </a:extLst>
          </p:cNvPr>
          <p:cNvGrpSpPr/>
          <p:nvPr/>
        </p:nvGrpSpPr>
        <p:grpSpPr>
          <a:xfrm>
            <a:off x="11234133" y="3803802"/>
            <a:ext cx="334544" cy="334543"/>
            <a:chOff x="4291609" y="3254132"/>
            <a:chExt cx="334544" cy="334543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ED362267-5A7B-4432-B0BD-60BB3E9A0323}"/>
                </a:ext>
              </a:extLst>
            </p:cNvPr>
            <p:cNvSpPr/>
            <p:nvPr/>
          </p:nvSpPr>
          <p:spPr>
            <a:xfrm>
              <a:off x="4291609" y="3254132"/>
              <a:ext cx="334544" cy="334543"/>
            </a:xfrm>
            <a:prstGeom prst="ellipse">
              <a:avLst/>
            </a:prstGeom>
            <a:solidFill>
              <a:schemeClr val="accent3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C9258894-9252-4948-8E5A-904BA1D26F51}"/>
                </a:ext>
              </a:extLst>
            </p:cNvPr>
            <p:cNvSpPr/>
            <p:nvPr/>
          </p:nvSpPr>
          <p:spPr>
            <a:xfrm>
              <a:off x="4373247" y="3335770"/>
              <a:ext cx="171268" cy="17126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</p:grpSp>
      <p:sp>
        <p:nvSpPr>
          <p:cNvPr id="20" name="Tekstvak 16">
            <a:extLst>
              <a:ext uri="{FF2B5EF4-FFF2-40B4-BE49-F238E27FC236}">
                <a16:creationId xmlns:a16="http://schemas.microsoft.com/office/drawing/2014/main" id="{9B6224A3-CC84-4A0D-834B-3237FAAB3FD3}"/>
              </a:ext>
            </a:extLst>
          </p:cNvPr>
          <p:cNvSpPr txBox="1"/>
          <p:nvPr/>
        </p:nvSpPr>
        <p:spPr>
          <a:xfrm>
            <a:off x="4318001" y="2041071"/>
            <a:ext cx="476555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nl-NL"/>
            </a:defPPr>
            <a:lvl1pPr>
              <a:defRPr sz="1400" b="1">
                <a:solidFill>
                  <a:srgbClr val="484240"/>
                </a:solidFill>
                <a:latin typeface="Lato Regular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"/>
                <a:ea typeface="+mn-ea"/>
                <a:cs typeface="+mn-cs"/>
              </a:rPr>
              <a:t>Hoog</a:t>
            </a:r>
          </a:p>
        </p:txBody>
      </p:sp>
      <p:sp>
        <p:nvSpPr>
          <p:cNvPr id="21" name="Tekstvak 16">
            <a:extLst>
              <a:ext uri="{FF2B5EF4-FFF2-40B4-BE49-F238E27FC236}">
                <a16:creationId xmlns:a16="http://schemas.microsoft.com/office/drawing/2014/main" id="{E1CAD093-0B66-4A02-AB71-0D10E7FBDE6F}"/>
              </a:ext>
            </a:extLst>
          </p:cNvPr>
          <p:cNvSpPr txBox="1"/>
          <p:nvPr/>
        </p:nvSpPr>
        <p:spPr>
          <a:xfrm>
            <a:off x="4318002" y="3824114"/>
            <a:ext cx="47655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nl-NL"/>
            </a:defPPr>
            <a:lvl1pPr>
              <a:defRPr sz="1400" b="1">
                <a:solidFill>
                  <a:srgbClr val="484240"/>
                </a:solidFill>
                <a:latin typeface="Lato Regular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"/>
                <a:ea typeface="+mn-ea"/>
                <a:cs typeface="+mn-cs"/>
              </a:rPr>
              <a:t>Laag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639C8A1-91CF-469D-8C8E-656AE7F7B3A5}"/>
              </a:ext>
            </a:extLst>
          </p:cNvPr>
          <p:cNvGrpSpPr/>
          <p:nvPr/>
        </p:nvGrpSpPr>
        <p:grpSpPr>
          <a:xfrm>
            <a:off x="4317276" y="4539931"/>
            <a:ext cx="7512774" cy="296646"/>
            <a:chOff x="1693318" y="4502949"/>
            <a:chExt cx="8805363" cy="296646"/>
          </a:xfrm>
        </p:grpSpPr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A17EF897-C389-49F9-A32B-516E0A72D486}"/>
                </a:ext>
              </a:extLst>
            </p:cNvPr>
            <p:cNvCxnSpPr/>
            <p:nvPr/>
          </p:nvCxnSpPr>
          <p:spPr>
            <a:xfrm>
              <a:off x="1693318" y="4502949"/>
              <a:ext cx="8805363" cy="0"/>
            </a:xfrm>
            <a:prstGeom prst="straightConnector1">
              <a:avLst/>
            </a:prstGeom>
            <a:ln w="12700">
              <a:solidFill>
                <a:schemeClr val="accent5"/>
              </a:solidFill>
              <a:tailEnd type="arrow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42D68DB-836B-4DA3-83EF-0D9EA1044066}"/>
                </a:ext>
              </a:extLst>
            </p:cNvPr>
            <p:cNvSpPr txBox="1"/>
            <p:nvPr/>
          </p:nvSpPr>
          <p:spPr>
            <a:xfrm>
              <a:off x="9962341" y="4522596"/>
              <a:ext cx="536340" cy="276999"/>
            </a:xfrm>
            <a:prstGeom prst="rect">
              <a:avLst/>
            </a:prstGeom>
            <a:noFill/>
          </p:spPr>
          <p:txBody>
            <a:bodyPr wrap="square" lIns="0" rIns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B2B2B2">
                      <a:lumMod val="75000"/>
                    </a:srgbClr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tijd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B2B2B2">
                    <a:lumMod val="75000"/>
                  </a:srgbClr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B4A06BBE-9B3B-4BC1-A7ED-D74B8B6A89BA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897" y="2086562"/>
            <a:ext cx="2747482" cy="3405600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B4341491-4C29-43D5-AF4D-B269C9C52995}"/>
              </a:ext>
            </a:extLst>
          </p:cNvPr>
          <p:cNvSpPr txBox="1"/>
          <p:nvPr/>
        </p:nvSpPr>
        <p:spPr>
          <a:xfrm>
            <a:off x="371475" y="6209944"/>
            <a:ext cx="3571875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800" b="0" i="1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Murray, 2005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4318576-AEC8-4B7D-8410-9993E0D6A593}"/>
              </a:ext>
            </a:extLst>
          </p:cNvPr>
          <p:cNvSpPr txBox="1"/>
          <p:nvPr/>
        </p:nvSpPr>
        <p:spPr>
          <a:xfrm>
            <a:off x="4305300" y="5331601"/>
            <a:ext cx="2845440" cy="64633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</a:tabLst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"/>
                <a:ea typeface="+mn-ea"/>
                <a:cs typeface="+mn-cs"/>
              </a:rPr>
              <a:t>Kan beginnen met achteruitgang van fysieke vermogens, spraak, cognitieve vermogens</a:t>
            </a:r>
          </a:p>
        </p:txBody>
      </p:sp>
    </p:spTree>
    <p:extLst>
      <p:ext uri="{BB962C8B-B14F-4D97-AF65-F5344CB8AC3E}">
        <p14:creationId xmlns:p14="http://schemas.microsoft.com/office/powerpoint/2010/main" val="42189476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87C6FF-A529-4BE1-ADB7-364FC96841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arkering</a:t>
            </a:r>
            <a:r>
              <a:rPr lang="en-US" dirty="0"/>
              <a:t> van </a:t>
            </a:r>
            <a:r>
              <a:rPr lang="en-US" dirty="0" err="1"/>
              <a:t>palliatieve</a:t>
            </a:r>
            <a:r>
              <a:rPr lang="en-US" dirty="0"/>
              <a:t> </a:t>
            </a:r>
            <a:r>
              <a:rPr lang="en-US" dirty="0" err="1"/>
              <a:t>zorg</a:t>
            </a:r>
            <a:br>
              <a:rPr lang="en-US" dirty="0"/>
            </a:br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8C2D2807-0E4D-4527-800E-FEBCC88E7644}"/>
              </a:ext>
            </a:extLst>
          </p:cNvPr>
          <p:cNvSpPr txBox="1"/>
          <p:nvPr/>
        </p:nvSpPr>
        <p:spPr>
          <a:xfrm>
            <a:off x="371475" y="6209944"/>
            <a:ext cx="3571875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800" b="0" i="1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Lynn and Adamson, 2003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D08C4A4-5AB3-40B9-A944-56A7E3778587}"/>
              </a:ext>
            </a:extLst>
          </p:cNvPr>
          <p:cNvGrpSpPr/>
          <p:nvPr/>
        </p:nvGrpSpPr>
        <p:grpSpPr>
          <a:xfrm>
            <a:off x="1693318" y="4630837"/>
            <a:ext cx="8805363" cy="296646"/>
            <a:chOff x="1436407" y="4380168"/>
            <a:chExt cx="8805363" cy="296646"/>
          </a:xfrm>
        </p:grpSpPr>
        <p:cxnSp>
          <p:nvCxnSpPr>
            <p:cNvPr id="5" name="Straight Arrow Connector 4">
              <a:extLst>
                <a:ext uri="{FF2B5EF4-FFF2-40B4-BE49-F238E27FC236}">
                  <a16:creationId xmlns:a16="http://schemas.microsoft.com/office/drawing/2014/main" id="{315727C0-7E65-48A2-A71D-D2EC0B9B7DF0}"/>
                </a:ext>
              </a:extLst>
            </p:cNvPr>
            <p:cNvCxnSpPr/>
            <p:nvPr/>
          </p:nvCxnSpPr>
          <p:spPr>
            <a:xfrm>
              <a:off x="1436407" y="4380168"/>
              <a:ext cx="8805363" cy="0"/>
            </a:xfrm>
            <a:prstGeom prst="straightConnector1">
              <a:avLst/>
            </a:prstGeom>
            <a:ln w="12700">
              <a:solidFill>
                <a:schemeClr val="accent5"/>
              </a:solidFill>
              <a:tailEnd type="arrow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5A1F3635-E9C6-4FA3-BA20-7B5A12B371BC}"/>
                </a:ext>
              </a:extLst>
            </p:cNvPr>
            <p:cNvSpPr txBox="1"/>
            <p:nvPr/>
          </p:nvSpPr>
          <p:spPr>
            <a:xfrm>
              <a:off x="4850348" y="4399815"/>
              <a:ext cx="5391422" cy="276999"/>
            </a:xfrm>
            <a:prstGeom prst="rect">
              <a:avLst/>
            </a:prstGeom>
            <a:noFill/>
          </p:spPr>
          <p:txBody>
            <a:bodyPr wrap="square" lIns="0" rIns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B2B2B2">
                      <a:lumMod val="75000"/>
                    </a:srgbClr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voortschrijdende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B2B2B2">
                      <a:lumMod val="75000"/>
                    </a:srgbClr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 </a:t>
              </a:r>
              <a:r>
                <a:rPr kumimoji="0" lang="en-US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B2B2B2">
                      <a:lumMod val="75000"/>
                    </a:srgbClr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ziekte</a:t>
              </a: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B2B2B2">
                      <a:lumMod val="75000"/>
                    </a:srgbClr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 in </a:t>
              </a:r>
              <a:r>
                <a:rPr kumimoji="0" lang="ru-RU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B2B2B2">
                      <a:lumMod val="75000"/>
                    </a:srgbClr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tijd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B2B2B2">
                    <a:lumMod val="75000"/>
                  </a:srgbClr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643F8B08-CA3E-4085-B760-D2870466C9DA}"/>
              </a:ext>
            </a:extLst>
          </p:cNvPr>
          <p:cNvGrpSpPr/>
          <p:nvPr/>
        </p:nvGrpSpPr>
        <p:grpSpPr>
          <a:xfrm>
            <a:off x="1693317" y="3974206"/>
            <a:ext cx="8805365" cy="307777"/>
            <a:chOff x="1436406" y="3967595"/>
            <a:chExt cx="8805365" cy="307777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97CC5C5F-7735-40D7-B6C8-BB3374270294}"/>
                </a:ext>
              </a:extLst>
            </p:cNvPr>
            <p:cNvSpPr txBox="1"/>
            <p:nvPr/>
          </p:nvSpPr>
          <p:spPr>
            <a:xfrm>
              <a:off x="1436406" y="3967595"/>
              <a:ext cx="8805365" cy="307777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Palliatieve</a:t>
              </a: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 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zorg</a:t>
              </a:r>
              <a:endPara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A2408079-8CC0-4FF9-A0F3-369921D49146}"/>
                </a:ext>
              </a:extLst>
            </p:cNvPr>
            <p:cNvCxnSpPr/>
            <p:nvPr/>
          </p:nvCxnSpPr>
          <p:spPr>
            <a:xfrm>
              <a:off x="6722719" y="4135887"/>
              <a:ext cx="3519052" cy="691"/>
            </a:xfrm>
            <a:prstGeom prst="line">
              <a:avLst/>
            </a:prstGeom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C6052D0A-3CCB-4ABF-B533-47710F309EF1}"/>
                </a:ext>
              </a:extLst>
            </p:cNvPr>
            <p:cNvCxnSpPr/>
            <p:nvPr/>
          </p:nvCxnSpPr>
          <p:spPr>
            <a:xfrm>
              <a:off x="1436406" y="4136232"/>
              <a:ext cx="3519052" cy="691"/>
            </a:xfrm>
            <a:prstGeom prst="line">
              <a:avLst/>
            </a:prstGeom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Rectangle 2">
            <a:extLst>
              <a:ext uri="{FF2B5EF4-FFF2-40B4-BE49-F238E27FC236}">
                <a16:creationId xmlns:a16="http://schemas.microsoft.com/office/drawing/2014/main" id="{4B8029B8-7EB5-4697-9AAF-BE7EFE60C756}"/>
              </a:ext>
            </a:extLst>
          </p:cNvPr>
          <p:cNvSpPr/>
          <p:nvPr/>
        </p:nvSpPr>
        <p:spPr>
          <a:xfrm>
            <a:off x="1693317" y="2983586"/>
            <a:ext cx="6157204" cy="833097"/>
          </a:xfrm>
          <a:prstGeom prst="rect">
            <a:avLst/>
          </a:prstGeom>
          <a:solidFill>
            <a:srgbClr val="9EC0B9"/>
          </a:solidFill>
          <a:ln>
            <a:noFill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A20D443C-39F2-4103-9D70-6CA010945BB1}"/>
              </a:ext>
            </a:extLst>
          </p:cNvPr>
          <p:cNvSpPr/>
          <p:nvPr/>
        </p:nvSpPr>
        <p:spPr>
          <a:xfrm>
            <a:off x="7850520" y="2983587"/>
            <a:ext cx="965309" cy="833096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3" name="Right Triangle 6">
            <a:extLst>
              <a:ext uri="{FF2B5EF4-FFF2-40B4-BE49-F238E27FC236}">
                <a16:creationId xmlns:a16="http://schemas.microsoft.com/office/drawing/2014/main" id="{46DF2E82-837E-4317-BBB8-35B6C1A09848}"/>
              </a:ext>
            </a:extLst>
          </p:cNvPr>
          <p:cNvSpPr/>
          <p:nvPr/>
        </p:nvSpPr>
        <p:spPr>
          <a:xfrm flipV="1">
            <a:off x="1692958" y="2983583"/>
            <a:ext cx="6048962" cy="837689"/>
          </a:xfrm>
          <a:prstGeom prst="rtTriangle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4" name="Tekstvak 18">
            <a:extLst>
              <a:ext uri="{FF2B5EF4-FFF2-40B4-BE49-F238E27FC236}">
                <a16:creationId xmlns:a16="http://schemas.microsoft.com/office/drawing/2014/main" id="{2E8C5EF7-83A8-4505-A954-876E7650D6A2}"/>
              </a:ext>
            </a:extLst>
          </p:cNvPr>
          <p:cNvSpPr/>
          <p:nvPr/>
        </p:nvSpPr>
        <p:spPr>
          <a:xfrm>
            <a:off x="8486833" y="2480767"/>
            <a:ext cx="808390" cy="215444"/>
          </a:xfrm>
          <a:prstGeom prst="rect">
            <a:avLst/>
          </a:prstGeom>
          <a:noFill/>
          <a:ln w="0"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overlijden</a:t>
            </a:r>
          </a:p>
        </p:txBody>
      </p:sp>
      <p:sp>
        <p:nvSpPr>
          <p:cNvPr id="16" name="Tekstvak 35">
            <a:extLst>
              <a:ext uri="{FF2B5EF4-FFF2-40B4-BE49-F238E27FC236}">
                <a16:creationId xmlns:a16="http://schemas.microsoft.com/office/drawing/2014/main" id="{E4F75599-9B29-4F17-AE12-3E91F0658755}"/>
              </a:ext>
            </a:extLst>
          </p:cNvPr>
          <p:cNvSpPr/>
          <p:nvPr/>
        </p:nvSpPr>
        <p:spPr>
          <a:xfrm>
            <a:off x="1843060" y="3113591"/>
            <a:ext cx="1158695" cy="215444"/>
          </a:xfrm>
          <a:prstGeom prst="rect">
            <a:avLst/>
          </a:prstGeom>
          <a:noFill/>
          <a:ln w="0"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-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ziektegericht</a:t>
            </a:r>
          </a:p>
        </p:txBody>
      </p:sp>
      <p:sp>
        <p:nvSpPr>
          <p:cNvPr id="17" name="Tekstvak 37">
            <a:extLst>
              <a:ext uri="{FF2B5EF4-FFF2-40B4-BE49-F238E27FC236}">
                <a16:creationId xmlns:a16="http://schemas.microsoft.com/office/drawing/2014/main" id="{FB0434A6-3A85-4D89-A51B-AC7480E28834}"/>
              </a:ext>
            </a:extLst>
          </p:cNvPr>
          <p:cNvSpPr/>
          <p:nvPr/>
        </p:nvSpPr>
        <p:spPr>
          <a:xfrm>
            <a:off x="6142246" y="3489225"/>
            <a:ext cx="1535262" cy="215444"/>
          </a:xfrm>
          <a:prstGeom prst="rect">
            <a:avLst/>
          </a:prstGeom>
          <a:noFill/>
          <a:ln w="0">
            <a:noFill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0" tIns="0" rIns="0" bIns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-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ymptoomgericht</a:t>
            </a:r>
          </a:p>
        </p:txBody>
      </p:sp>
      <p:sp>
        <p:nvSpPr>
          <p:cNvPr id="18" name="Tekstvak 39">
            <a:extLst>
              <a:ext uri="{FF2B5EF4-FFF2-40B4-BE49-F238E27FC236}">
                <a16:creationId xmlns:a16="http://schemas.microsoft.com/office/drawing/2014/main" id="{3493A033-F212-4A3C-9739-6105BDEE9B55}"/>
              </a:ext>
            </a:extLst>
          </p:cNvPr>
          <p:cNvSpPr/>
          <p:nvPr/>
        </p:nvSpPr>
        <p:spPr>
          <a:xfrm>
            <a:off x="7836627" y="3489225"/>
            <a:ext cx="993097" cy="215444"/>
          </a:xfrm>
          <a:prstGeom prst="rect">
            <a:avLst/>
          </a:prstGeom>
          <a:noFill/>
          <a:ln w="0">
            <a:noFill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-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terven</a:t>
            </a:r>
          </a:p>
        </p:txBody>
      </p:sp>
      <p:sp>
        <p:nvSpPr>
          <p:cNvPr id="20" name="Rechthoekige driehoek 10">
            <a:extLst>
              <a:ext uri="{FF2B5EF4-FFF2-40B4-BE49-F238E27FC236}">
                <a16:creationId xmlns:a16="http://schemas.microsoft.com/office/drawing/2014/main" id="{602EC45B-C7D9-44A3-9FC8-64E02AAA4C40}"/>
              </a:ext>
            </a:extLst>
          </p:cNvPr>
          <p:cNvSpPr/>
          <p:nvPr/>
        </p:nvSpPr>
        <p:spPr>
          <a:xfrm>
            <a:off x="8938439" y="2983586"/>
            <a:ext cx="1560241" cy="833096"/>
          </a:xfrm>
          <a:prstGeom prst="rtTriangle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/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1F1FD1AF-157C-460A-87FF-BB0696C53547}"/>
              </a:ext>
            </a:extLst>
          </p:cNvPr>
          <p:cNvCxnSpPr>
            <a:cxnSpLocks/>
          </p:cNvCxnSpPr>
          <p:nvPr/>
        </p:nvCxnSpPr>
        <p:spPr>
          <a:xfrm flipV="1">
            <a:off x="8877134" y="2743281"/>
            <a:ext cx="0" cy="1073402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kstvak 41">
            <a:extLst>
              <a:ext uri="{FF2B5EF4-FFF2-40B4-BE49-F238E27FC236}">
                <a16:creationId xmlns:a16="http://schemas.microsoft.com/office/drawing/2014/main" id="{5111F31C-99B5-4F98-8BF3-01066DEEF780}"/>
              </a:ext>
            </a:extLst>
          </p:cNvPr>
          <p:cNvSpPr/>
          <p:nvPr/>
        </p:nvSpPr>
        <p:spPr>
          <a:xfrm>
            <a:off x="8934697" y="3489225"/>
            <a:ext cx="1058030" cy="215444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0" tIns="0" rIns="0" bIns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-1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rouw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14F3AC5-FAAA-478B-AEBD-7F46D38CB31E}"/>
              </a:ext>
            </a:extLst>
          </p:cNvPr>
          <p:cNvSpPr txBox="1"/>
          <p:nvPr/>
        </p:nvSpPr>
        <p:spPr>
          <a:xfrm>
            <a:off x="1687720" y="2435504"/>
            <a:ext cx="6157202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B2B2B2">
                    <a:lumMod val="75000"/>
                  </a:srgbClr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markering</a:t>
            </a: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B2B2B2">
                    <a:lumMod val="75000"/>
                  </a:srgbClr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palliatieve fas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B9B728A-7816-4423-82FF-9AE044721A40}"/>
              </a:ext>
            </a:extLst>
          </p:cNvPr>
          <p:cNvSpPr txBox="1"/>
          <p:nvPr/>
        </p:nvSpPr>
        <p:spPr>
          <a:xfrm>
            <a:off x="1687720" y="1903794"/>
            <a:ext cx="8805362" cy="27699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769D94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Vier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769D94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769D94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fases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769D94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1963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1107211_1080p_Calm_Care_1920x1080">
            <a:hlinkClick r:id="" action="ppaction://media"/>
            <a:extLst>
              <a:ext uri="{FF2B5EF4-FFF2-40B4-BE49-F238E27FC236}">
                <a16:creationId xmlns:a16="http://schemas.microsoft.com/office/drawing/2014/main" id="{F7FC6A0C-EDF2-4EF6-A1B7-ABE78EF85847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45E3DA7F-1EC2-49A4-90D7-85127D0F8B36}"/>
              </a:ext>
            </a:extLst>
          </p:cNvPr>
          <p:cNvSpPr/>
          <p:nvPr/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chemeClr val="accent6">
              <a:lumMod val="5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6730C7D-496C-455D-A259-8AB81851013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l-NL" sz="6000" dirty="0"/>
              <a:t>Zorg in de laatste levensfase</a:t>
            </a:r>
            <a:endParaRPr lang="ru-RU" sz="6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4246525-AEEA-4054-9B6C-5A1416123F2D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2562" y="432084"/>
            <a:ext cx="1217970" cy="29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0129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333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3AC6E2-2A64-424F-9EE9-BB7C469300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tervensfase</a:t>
            </a:r>
            <a:endParaRPr lang="ru-RU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13EE492F-41AE-4928-A56C-7C0DB5F966FC}"/>
              </a:ext>
            </a:extLst>
          </p:cNvPr>
          <p:cNvGrpSpPr/>
          <p:nvPr/>
        </p:nvGrpSpPr>
        <p:grpSpPr>
          <a:xfrm>
            <a:off x="4305300" y="1449388"/>
            <a:ext cx="7515226" cy="4679950"/>
            <a:chOff x="4305300" y="1449388"/>
            <a:chExt cx="7515226" cy="4679950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CB9E9374-3EA1-415F-8378-1496BE8DE2F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 r="1179"/>
            <a:stretch/>
          </p:blipFill>
          <p:spPr>
            <a:xfrm>
              <a:off x="4305300" y="1449388"/>
              <a:ext cx="7515226" cy="4679950"/>
            </a:xfrm>
            <a:prstGeom prst="rect">
              <a:avLst/>
            </a:prstGeom>
          </p:spPr>
        </p:pic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6A27EBDA-CC3C-461F-8D1F-0BABED0326E4}"/>
                </a:ext>
              </a:extLst>
            </p:cNvPr>
            <p:cNvSpPr txBox="1"/>
            <p:nvPr/>
          </p:nvSpPr>
          <p:spPr>
            <a:xfrm>
              <a:off x="4305300" y="2002295"/>
              <a:ext cx="56891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100</a:t>
              </a: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A87C386-7219-437A-856F-EFC1D88A5744}"/>
                </a:ext>
              </a:extLst>
            </p:cNvPr>
            <p:cNvSpPr txBox="1"/>
            <p:nvPr/>
          </p:nvSpPr>
          <p:spPr>
            <a:xfrm>
              <a:off x="4305300" y="3582343"/>
              <a:ext cx="56891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50</a:t>
              </a: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DC78A9D9-7AB3-4880-AC6F-D52EEFF2AFB7}"/>
                </a:ext>
              </a:extLst>
            </p:cNvPr>
            <p:cNvSpPr txBox="1"/>
            <p:nvPr/>
          </p:nvSpPr>
          <p:spPr>
            <a:xfrm>
              <a:off x="4874214" y="5389430"/>
              <a:ext cx="56891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1</a:t>
              </a: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990A228-EB9B-483A-B7DA-9BE26435FFD7}"/>
                </a:ext>
              </a:extLst>
            </p:cNvPr>
            <p:cNvSpPr txBox="1"/>
            <p:nvPr/>
          </p:nvSpPr>
          <p:spPr>
            <a:xfrm>
              <a:off x="8319732" y="5417187"/>
              <a:ext cx="56891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360</a:t>
              </a: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2460CAA1-D3A1-4B90-9949-D556ACB29375}"/>
                </a:ext>
              </a:extLst>
            </p:cNvPr>
            <p:cNvSpPr txBox="1"/>
            <p:nvPr/>
          </p:nvSpPr>
          <p:spPr>
            <a:xfrm>
              <a:off x="10042490" y="5417187"/>
              <a:ext cx="923915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540 (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dgn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)</a:t>
              </a: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3A3278A-92E0-40FC-81F4-CC992A46CAA1}"/>
                </a:ext>
              </a:extLst>
            </p:cNvPr>
            <p:cNvSpPr txBox="1"/>
            <p:nvPr/>
          </p:nvSpPr>
          <p:spPr>
            <a:xfrm>
              <a:off x="6596973" y="5417187"/>
              <a:ext cx="56891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180</a:t>
              </a: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8B316E6D-26C9-45C6-A9C1-F6FD2AED7516}"/>
                </a:ext>
              </a:extLst>
            </p:cNvPr>
            <p:cNvSpPr txBox="1"/>
            <p:nvPr/>
          </p:nvSpPr>
          <p:spPr>
            <a:xfrm>
              <a:off x="7038189" y="5790338"/>
              <a:ext cx="731016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feitelijk</a:t>
              </a: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2FF33DF7-EB44-4966-8724-312D34BB3D55}"/>
                </a:ext>
              </a:extLst>
            </p:cNvPr>
            <p:cNvSpPr txBox="1"/>
            <p:nvPr/>
          </p:nvSpPr>
          <p:spPr>
            <a:xfrm>
              <a:off x="8412986" y="5790338"/>
              <a:ext cx="852508" cy="24622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voorspeld</a:t>
              </a:r>
              <a:endPara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D42AA4B-3CFB-440A-B827-F3FCFFB8FFEB}"/>
              </a:ext>
            </a:extLst>
          </p:cNvPr>
          <p:cNvGrpSpPr/>
          <p:nvPr/>
        </p:nvGrpSpPr>
        <p:grpSpPr>
          <a:xfrm>
            <a:off x="371474" y="1449388"/>
            <a:ext cx="3578225" cy="1058724"/>
            <a:chOff x="4305299" y="2620340"/>
            <a:chExt cx="3578225" cy="1058724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E4D60AB-7679-42DB-B360-C468E86496A9}"/>
                </a:ext>
              </a:extLst>
            </p:cNvPr>
            <p:cNvSpPr txBox="1"/>
            <p:nvPr/>
          </p:nvSpPr>
          <p:spPr>
            <a:xfrm>
              <a:off x="4305299" y="3078900"/>
              <a:ext cx="3578225" cy="600164"/>
            </a:xfrm>
            <a:prstGeom prst="rect">
              <a:avLst/>
            </a:prstGeom>
            <a:noFill/>
          </p:spPr>
          <p:txBody>
            <a:bodyPr wrap="square" lIns="0" t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8424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Hoe goed kunnen we die voorspellen?</a:t>
              </a:r>
            </a:p>
          </p:txBody>
        </p: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117AB794-2078-426F-8A20-0F74A5E004E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305299" y="2620340"/>
              <a:ext cx="414697" cy="322542"/>
            </a:xfrm>
            <a:prstGeom prst="rect">
              <a:avLst/>
            </a:prstGeom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8377AC5-9BC0-4062-8E0C-494F75A4AC5B}"/>
              </a:ext>
            </a:extLst>
          </p:cNvPr>
          <p:cNvGrpSpPr/>
          <p:nvPr/>
        </p:nvGrpSpPr>
        <p:grpSpPr>
          <a:xfrm>
            <a:off x="371474" y="2934990"/>
            <a:ext cx="3575051" cy="750948"/>
            <a:chOff x="8245475" y="2620340"/>
            <a:chExt cx="3575051" cy="750948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8D0A6117-7DAB-4658-8637-F87C941D69BE}"/>
                </a:ext>
              </a:extLst>
            </p:cNvPr>
            <p:cNvSpPr txBox="1"/>
            <p:nvPr/>
          </p:nvSpPr>
          <p:spPr>
            <a:xfrm>
              <a:off x="8245475" y="3078900"/>
              <a:ext cx="3575051" cy="292388"/>
            </a:xfrm>
            <a:prstGeom prst="rect">
              <a:avLst/>
            </a:prstGeom>
            <a:noFill/>
          </p:spPr>
          <p:txBody>
            <a:bodyPr wrap="square" lIns="0" t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48424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Zuster, hoe lang duurt het nog?</a:t>
              </a: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81FB78CB-C5F0-4CD4-916C-884F6D952FF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245475" y="2620340"/>
              <a:ext cx="414697" cy="322542"/>
            </a:xfrm>
            <a:prstGeom prst="rect">
              <a:avLst/>
            </a:prstGeom>
          </p:spPr>
        </p:pic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184BD4E5-39BA-4E6E-853A-8523B50173DB}"/>
              </a:ext>
            </a:extLst>
          </p:cNvPr>
          <p:cNvSpPr txBox="1"/>
          <p:nvPr/>
        </p:nvSpPr>
        <p:spPr>
          <a:xfrm>
            <a:off x="371475" y="6209944"/>
            <a:ext cx="3571875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800" b="0" i="1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Glare, BMJ 2003</a:t>
            </a:r>
          </a:p>
        </p:txBody>
      </p:sp>
    </p:spTree>
    <p:extLst>
      <p:ext uri="{BB962C8B-B14F-4D97-AF65-F5344CB8AC3E}">
        <p14:creationId xmlns:p14="http://schemas.microsoft.com/office/powerpoint/2010/main" val="3315976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22A651F-7055-4926-AE57-C0B2B6E747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scar the cat:</a:t>
            </a:r>
            <a:br>
              <a:rPr lang="en-US" dirty="0"/>
            </a:br>
            <a:r>
              <a:rPr lang="nl-NL" dirty="0">
                <a:solidFill>
                  <a:schemeClr val="accent6"/>
                </a:solidFill>
                <a:latin typeface="EB Garamond" panose="00000500000000000000" pitchFamily="2" charset="0"/>
                <a:ea typeface="EB Garamond" panose="00000500000000000000" pitchFamily="2" charset="0"/>
              </a:rPr>
              <a:t>Kan je het overlijden zien aankomen?</a:t>
            </a:r>
            <a:endParaRPr lang="ru-RU" dirty="0">
              <a:solidFill>
                <a:schemeClr val="accent6"/>
              </a:solidFill>
              <a:latin typeface="EB Garamond" panose="00000500000000000000" pitchFamily="2" charset="0"/>
              <a:ea typeface="EB Garamond" panose="00000500000000000000" pitchFamily="2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C7AE048-FBAA-4E15-95E4-B88AB54E7522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75" y="1449388"/>
            <a:ext cx="5102201" cy="467995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C3D9004-680A-45B1-821D-C1E22020C91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761" t="24079" r="21743" b="60437"/>
          <a:stretch/>
        </p:blipFill>
        <p:spPr>
          <a:xfrm>
            <a:off x="2052616" y="1151047"/>
            <a:ext cx="1588616" cy="596681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1D9A01B4-B61E-447D-ADC9-11C03E0C2FF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873" t="3043" r="10631" b="81473"/>
          <a:stretch/>
        </p:blipFill>
        <p:spPr>
          <a:xfrm>
            <a:off x="3038352" y="5706953"/>
            <a:ext cx="1588616" cy="596681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5E34940D-8FE8-4643-BBE7-5E8CE3517C83}"/>
              </a:ext>
            </a:extLst>
          </p:cNvPr>
          <p:cNvSpPr txBox="1"/>
          <p:nvPr/>
        </p:nvSpPr>
        <p:spPr>
          <a:xfrm>
            <a:off x="6096000" y="2038088"/>
            <a:ext cx="5724525" cy="347787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24A78"/>
              </a:buClr>
              <a:buSzTx/>
              <a:buFontTx/>
              <a:buNone/>
              <a:tabLst/>
              <a:defRPr/>
            </a:pPr>
            <a:r>
              <a:rPr kumimoji="0" lang="nl-NL" sz="44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EB Garamond SemiBold"/>
                <a:ea typeface="+mn-ea"/>
                <a:cs typeface="+mn-cs"/>
              </a:rPr>
              <a:t>Oscar jumps onto her bed, curls up beside </a:t>
            </a:r>
            <a:br>
              <a:rPr kumimoji="0" lang="ru-RU" sz="44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EB Garamond SemiBold"/>
                <a:ea typeface="+mn-ea"/>
                <a:cs typeface="+mn-cs"/>
              </a:rPr>
            </a:br>
            <a:r>
              <a:rPr kumimoji="0" lang="nl-NL" sz="44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EB Garamond SemiBold"/>
                <a:ea typeface="+mn-ea"/>
                <a:cs typeface="+mn-cs"/>
              </a:rPr>
              <a:t>Mrs K. Her family </a:t>
            </a:r>
            <a:br>
              <a:rPr kumimoji="0" lang="ru-RU" sz="44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EB Garamond SemiBold"/>
                <a:ea typeface="+mn-ea"/>
                <a:cs typeface="+mn-cs"/>
              </a:rPr>
            </a:br>
            <a:r>
              <a:rPr kumimoji="0" lang="nl-NL" sz="44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EB Garamond SemiBold"/>
                <a:ea typeface="+mn-ea"/>
                <a:cs typeface="+mn-cs"/>
              </a:rPr>
              <a:t>is called. Shortly thereafter Mrs K. dies.</a:t>
            </a:r>
            <a:endParaRPr kumimoji="0" lang="ru-RU" sz="4400" b="0" i="0" u="none" strike="noStrike" kern="1200" cap="none" spc="0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EB Garamond SemiBold"/>
              <a:ea typeface="+mn-ea"/>
              <a:cs typeface="+mn-cs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AA197682-81A3-4231-9BA4-F790D914BC5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096000" y="1449388"/>
            <a:ext cx="680558" cy="52932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346FF1F-424F-405F-A09E-DF63E9FBC2F6}"/>
              </a:ext>
            </a:extLst>
          </p:cNvPr>
          <p:cNvSpPr txBox="1"/>
          <p:nvPr/>
        </p:nvSpPr>
        <p:spPr>
          <a:xfrm>
            <a:off x="6094810" y="5575340"/>
            <a:ext cx="5725715" cy="5539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C24A78"/>
              </a:buClr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“A day in the life of Oscar the cat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”</a:t>
            </a:r>
            <a:b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(Dosa, NEJM 2007)</a:t>
            </a:r>
          </a:p>
        </p:txBody>
      </p:sp>
    </p:spTree>
    <p:extLst>
      <p:ext uri="{BB962C8B-B14F-4D97-AF65-F5344CB8AC3E}">
        <p14:creationId xmlns:p14="http://schemas.microsoft.com/office/powerpoint/2010/main" val="1000994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BD508DD5-E3CC-4444-9A31-166C0BE77B75}"/>
              </a:ext>
            </a:extLst>
          </p:cNvPr>
          <p:cNvSpPr/>
          <p:nvPr/>
        </p:nvSpPr>
        <p:spPr>
          <a:xfrm>
            <a:off x="5161328" y="2519462"/>
            <a:ext cx="8721534" cy="1704403"/>
          </a:xfrm>
          <a:custGeom>
            <a:avLst/>
            <a:gdLst>
              <a:gd name="connsiteX0" fmla="*/ 0 w 7494714"/>
              <a:gd name="connsiteY0" fmla="*/ 931229 h 1346356"/>
              <a:gd name="connsiteX1" fmla="*/ 7494714 w 7494714"/>
              <a:gd name="connsiteY1" fmla="*/ 0 h 1346356"/>
              <a:gd name="connsiteX2" fmla="*/ 7494714 w 7494714"/>
              <a:gd name="connsiteY2" fmla="*/ 1346356 h 1346356"/>
              <a:gd name="connsiteX3" fmla="*/ 11219 w 7494714"/>
              <a:gd name="connsiteY3" fmla="*/ 1138792 h 1346356"/>
              <a:gd name="connsiteX4" fmla="*/ 0 w 7494714"/>
              <a:gd name="connsiteY4" fmla="*/ 931229 h 1346356"/>
              <a:gd name="connsiteX0" fmla="*/ 0 w 7505934"/>
              <a:gd name="connsiteY0" fmla="*/ 931229 h 1452943"/>
              <a:gd name="connsiteX1" fmla="*/ 7494714 w 7505934"/>
              <a:gd name="connsiteY1" fmla="*/ 0 h 1452943"/>
              <a:gd name="connsiteX2" fmla="*/ 7505934 w 7505934"/>
              <a:gd name="connsiteY2" fmla="*/ 1452943 h 1452943"/>
              <a:gd name="connsiteX3" fmla="*/ 11219 w 7505934"/>
              <a:gd name="connsiteY3" fmla="*/ 1138792 h 1452943"/>
              <a:gd name="connsiteX4" fmla="*/ 0 w 7505934"/>
              <a:gd name="connsiteY4" fmla="*/ 931229 h 1452943"/>
              <a:gd name="connsiteX0" fmla="*/ 0 w 8721534"/>
              <a:gd name="connsiteY0" fmla="*/ 1098869 h 1620583"/>
              <a:gd name="connsiteX1" fmla="*/ 8721534 w 8721534"/>
              <a:gd name="connsiteY1" fmla="*/ 0 h 1620583"/>
              <a:gd name="connsiteX2" fmla="*/ 7505934 w 8721534"/>
              <a:gd name="connsiteY2" fmla="*/ 1620583 h 1620583"/>
              <a:gd name="connsiteX3" fmla="*/ 11219 w 8721534"/>
              <a:gd name="connsiteY3" fmla="*/ 1306432 h 1620583"/>
              <a:gd name="connsiteX4" fmla="*/ 0 w 8721534"/>
              <a:gd name="connsiteY4" fmla="*/ 1098869 h 1620583"/>
              <a:gd name="connsiteX0" fmla="*/ 0 w 8721534"/>
              <a:gd name="connsiteY0" fmla="*/ 1098869 h 1704403"/>
              <a:gd name="connsiteX1" fmla="*/ 8721534 w 8721534"/>
              <a:gd name="connsiteY1" fmla="*/ 0 h 1704403"/>
              <a:gd name="connsiteX2" fmla="*/ 8717514 w 8721534"/>
              <a:gd name="connsiteY2" fmla="*/ 1704403 h 1704403"/>
              <a:gd name="connsiteX3" fmla="*/ 11219 w 8721534"/>
              <a:gd name="connsiteY3" fmla="*/ 1306432 h 1704403"/>
              <a:gd name="connsiteX4" fmla="*/ 0 w 8721534"/>
              <a:gd name="connsiteY4" fmla="*/ 1098869 h 17044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721534" h="1704403">
                <a:moveTo>
                  <a:pt x="0" y="1098869"/>
                </a:moveTo>
                <a:lnTo>
                  <a:pt x="8721534" y="0"/>
                </a:lnTo>
                <a:lnTo>
                  <a:pt x="8717514" y="1704403"/>
                </a:lnTo>
                <a:lnTo>
                  <a:pt x="11219" y="1306432"/>
                </a:lnTo>
                <a:lnTo>
                  <a:pt x="0" y="1098869"/>
                </a:ln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26D501-81FA-4E46-9919-1535EE7966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Sterfte</a:t>
            </a:r>
            <a:r>
              <a:rPr lang="en-US" dirty="0"/>
              <a:t> in Nederland in 2015</a:t>
            </a:r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59DB514-BC12-4B30-BE3A-0FE3EB02D3D8}"/>
              </a:ext>
            </a:extLst>
          </p:cNvPr>
          <p:cNvSpPr txBox="1"/>
          <p:nvPr/>
        </p:nvSpPr>
        <p:spPr>
          <a:xfrm>
            <a:off x="371475" y="6209944"/>
            <a:ext cx="3571875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800" b="0" i="1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N = 146000</a:t>
            </a:r>
          </a:p>
        </p:txBody>
      </p:sp>
      <p:graphicFrame>
        <p:nvGraphicFramePr>
          <p:cNvPr id="4" name="Grafiek 6">
            <a:extLst>
              <a:ext uri="{FF2B5EF4-FFF2-40B4-BE49-F238E27FC236}">
                <a16:creationId xmlns:a16="http://schemas.microsoft.com/office/drawing/2014/main" id="{E12E85E2-4DD1-4B84-9D27-48D044708B78}"/>
              </a:ext>
            </a:extLst>
          </p:cNvPr>
          <p:cNvGraphicFramePr/>
          <p:nvPr/>
        </p:nvGraphicFramePr>
        <p:xfrm>
          <a:off x="742019" y="1449389"/>
          <a:ext cx="5701633" cy="4679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B11B094D-D04A-49AE-9CAA-167119846A89}"/>
              </a:ext>
            </a:extLst>
          </p:cNvPr>
          <p:cNvSpPr txBox="1"/>
          <p:nvPr/>
        </p:nvSpPr>
        <p:spPr>
          <a:xfrm>
            <a:off x="6001725" y="3600777"/>
            <a:ext cx="876300" cy="169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2700" marR="0" lvl="0" indent="0" algn="l" defTabSz="457200" rtl="0" eaLnBrk="1" fontAlgn="auto" latinLnBrk="0" hangingPunct="1">
              <a:lnSpc>
                <a:spcPct val="100000"/>
              </a:lnSpc>
              <a:spcBef>
                <a:spcPts val="105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-4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orfine</a:t>
            </a:r>
            <a:r>
              <a:rPr kumimoji="0" lang="en-US" sz="1100" b="0" i="0" u="none" strike="noStrike" kern="1200" cap="none" spc="-4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“plus”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A854440-2EEE-467F-9BE9-AE62215AE630}"/>
              </a:ext>
            </a:extLst>
          </p:cNvPr>
          <p:cNvSpPr txBox="1"/>
          <p:nvPr/>
        </p:nvSpPr>
        <p:spPr>
          <a:xfrm>
            <a:off x="7405730" y="2977370"/>
            <a:ext cx="3571200" cy="1246495"/>
          </a:xfrm>
          <a:prstGeom prst="rect">
            <a:avLst/>
          </a:prstGeom>
          <a:noFill/>
        </p:spPr>
        <p:txBody>
          <a:bodyPr wrap="square" lIns="0" tIns="0" rIns="0" bIns="0" numCol="1" spcCol="360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-80" normalizeH="0" baseline="0" noProof="0" dirty="0">
                <a:ln>
                  <a:noFill/>
                </a:ln>
                <a:solidFill>
                  <a:srgbClr val="769D9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“Grijze</a:t>
            </a:r>
            <a:r>
              <a:rPr kumimoji="0" lang="nl-NL" sz="1800" b="1" i="0" u="none" strike="noStrike" kern="1200" cap="none" spc="-85" normalizeH="0" baseline="0" noProof="0" dirty="0">
                <a:ln>
                  <a:noFill/>
                </a:ln>
                <a:solidFill>
                  <a:srgbClr val="769D9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nl-NL" sz="1800" b="1" i="0" u="none" strike="noStrike" kern="1200" cap="none" spc="-60" normalizeH="0" baseline="0" noProof="0" dirty="0">
                <a:ln>
                  <a:noFill/>
                </a:ln>
                <a:solidFill>
                  <a:srgbClr val="769D94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gebied”:</a:t>
            </a:r>
            <a:endParaRPr kumimoji="0" lang="nl-NL" sz="1800" b="1" i="0" u="none" strike="noStrike" kern="1200" cap="none" spc="0" normalizeH="0" baseline="0" noProof="0" dirty="0">
              <a:ln>
                <a:noFill/>
              </a:ln>
              <a:solidFill>
                <a:srgbClr val="769D94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769D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Meer morfine dan nodig</a:t>
            </a:r>
          </a:p>
          <a:p>
            <a:pPr marL="176213" marR="0" lvl="0" indent="-17621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769D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Morfine met het doel </a:t>
            </a:r>
            <a:b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het overlijden te bespoedigen</a:t>
            </a:r>
          </a:p>
        </p:txBody>
      </p:sp>
    </p:spTree>
    <p:extLst>
      <p:ext uri="{BB962C8B-B14F-4D97-AF65-F5344CB8AC3E}">
        <p14:creationId xmlns:p14="http://schemas.microsoft.com/office/powerpoint/2010/main" val="1948480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5" grpId="0"/>
      <p:bldP spid="19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CC72B1-F8C8-43C5-AD2D-39A970A82F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Medische</a:t>
            </a:r>
            <a:r>
              <a:rPr lang="en-US" dirty="0"/>
              <a:t> </a:t>
            </a:r>
            <a:r>
              <a:rPr lang="en-US" dirty="0" err="1"/>
              <a:t>interventies</a:t>
            </a:r>
            <a:r>
              <a:rPr lang="en-US" dirty="0"/>
              <a:t> </a:t>
            </a:r>
            <a:r>
              <a:rPr lang="en-US" dirty="0" err="1"/>
              <a:t>laatste</a:t>
            </a:r>
            <a:r>
              <a:rPr lang="en-US" dirty="0"/>
              <a:t> </a:t>
            </a:r>
            <a:r>
              <a:rPr lang="en-US" dirty="0" err="1"/>
              <a:t>levensfase</a:t>
            </a:r>
            <a:endParaRPr lang="ru-RU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E79A500-869D-4BBF-80A4-A70522D48915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4" name="Picture Placeholder 4">
            <a:extLst>
              <a:ext uri="{FF2B5EF4-FFF2-40B4-BE49-F238E27FC236}">
                <a16:creationId xmlns:a16="http://schemas.microsoft.com/office/drawing/2014/main" id="{91AD62D1-A812-47C7-922E-8A12A8B2251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333" b="6333"/>
          <a:stretch>
            <a:fillRect/>
          </a:stretch>
        </p:blipFill>
        <p:spPr>
          <a:xfrm>
            <a:off x="372150" y="1449338"/>
            <a:ext cx="3571200" cy="468000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38BC96E-EF41-441A-BD3B-D4DDAF603801}"/>
              </a:ext>
            </a:extLst>
          </p:cNvPr>
          <p:cNvSpPr txBox="1"/>
          <p:nvPr/>
        </p:nvSpPr>
        <p:spPr>
          <a:xfrm>
            <a:off x="4841637" y="1762957"/>
            <a:ext cx="3041888" cy="276999"/>
          </a:xfrm>
          <a:prstGeom prst="rect">
            <a:avLst/>
          </a:prstGeom>
          <a:noFill/>
        </p:spPr>
        <p:txBody>
          <a:bodyPr wrap="square" lIns="180000" tIns="0" rIns="0" bIns="0" numCol="1" spcCol="360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Er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zij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0D755DE-FA97-4CE8-8E76-12F13AACB1E0}"/>
              </a:ext>
            </a:extLst>
          </p:cNvPr>
          <p:cNvSpPr txBox="1"/>
          <p:nvPr/>
        </p:nvSpPr>
        <p:spPr>
          <a:xfrm>
            <a:off x="4841637" y="2519080"/>
            <a:ext cx="3714077" cy="276999"/>
          </a:xfrm>
          <a:prstGeom prst="rect">
            <a:avLst/>
          </a:prstGeom>
          <a:noFill/>
        </p:spPr>
        <p:txBody>
          <a:bodyPr wrap="square" lIns="180000" tIns="0" rIns="0" bIns="0" numCol="1" spcCol="360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ymptoombestrijdin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18460BBF-8260-4A95-B43F-3BE06E9E68AC}"/>
              </a:ext>
            </a:extLst>
          </p:cNvPr>
          <p:cNvSpPr/>
          <p:nvPr/>
        </p:nvSpPr>
        <p:spPr>
          <a:xfrm>
            <a:off x="4305298" y="2391864"/>
            <a:ext cx="536340" cy="5363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72C7C892-170B-4568-B161-A804DC28F49B}"/>
              </a:ext>
            </a:extLst>
          </p:cNvPr>
          <p:cNvSpPr/>
          <p:nvPr/>
        </p:nvSpPr>
        <p:spPr>
          <a:xfrm>
            <a:off x="4305298" y="1633287"/>
            <a:ext cx="536340" cy="5363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6AD5ED1-AD9C-46DB-BB5F-27ADBD89FF29}"/>
              </a:ext>
            </a:extLst>
          </p:cNvPr>
          <p:cNvSpPr txBox="1"/>
          <p:nvPr/>
        </p:nvSpPr>
        <p:spPr>
          <a:xfrm>
            <a:off x="4841637" y="3279004"/>
            <a:ext cx="3041888" cy="276999"/>
          </a:xfrm>
          <a:prstGeom prst="rect">
            <a:avLst/>
          </a:prstGeom>
          <a:noFill/>
        </p:spPr>
        <p:txBody>
          <a:bodyPr wrap="square" lIns="180000" tIns="0" rIns="0" bIns="0" numCol="1" spcCol="360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Pallliatiev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edati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F76E1BD-3782-4BF2-A797-662A20FADD43}"/>
              </a:ext>
            </a:extLst>
          </p:cNvPr>
          <p:cNvSpPr txBox="1"/>
          <p:nvPr/>
        </p:nvSpPr>
        <p:spPr>
          <a:xfrm>
            <a:off x="4841637" y="4034230"/>
            <a:ext cx="3714077" cy="276999"/>
          </a:xfrm>
          <a:prstGeom prst="rect">
            <a:avLst/>
          </a:prstGeom>
          <a:noFill/>
        </p:spPr>
        <p:txBody>
          <a:bodyPr wrap="square" lIns="180000" tIns="0" rIns="0" bIns="0" numCol="1" spcCol="360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Acut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palliatiev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edati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901AA55-2E26-41ED-A84D-9ABCFBFA5314}"/>
              </a:ext>
            </a:extLst>
          </p:cNvPr>
          <p:cNvSpPr/>
          <p:nvPr/>
        </p:nvSpPr>
        <p:spPr>
          <a:xfrm>
            <a:off x="4305298" y="3909017"/>
            <a:ext cx="536340" cy="5363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FD5DA7D8-BB68-42D8-9909-53D1D117742B}"/>
              </a:ext>
            </a:extLst>
          </p:cNvPr>
          <p:cNvSpPr/>
          <p:nvPr/>
        </p:nvSpPr>
        <p:spPr>
          <a:xfrm>
            <a:off x="4305298" y="3150440"/>
            <a:ext cx="536340" cy="5363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6E9AFEAC-45E2-41E3-BCBF-95B19690C30F}"/>
              </a:ext>
            </a:extLst>
          </p:cNvPr>
          <p:cNvSpPr txBox="1"/>
          <p:nvPr/>
        </p:nvSpPr>
        <p:spPr>
          <a:xfrm>
            <a:off x="4841637" y="4780142"/>
            <a:ext cx="3041888" cy="276999"/>
          </a:xfrm>
          <a:prstGeom prst="rect">
            <a:avLst/>
          </a:prstGeom>
          <a:noFill/>
        </p:spPr>
        <p:txBody>
          <a:bodyPr wrap="square" lIns="180000" tIns="0" rIns="0" bIns="0" numCol="1" spcCol="360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Afzien van eten en drinken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2139D73-0BF9-4719-8561-B3AB5E2E3550}"/>
              </a:ext>
            </a:extLst>
          </p:cNvPr>
          <p:cNvSpPr txBox="1"/>
          <p:nvPr/>
        </p:nvSpPr>
        <p:spPr>
          <a:xfrm>
            <a:off x="4841637" y="5538719"/>
            <a:ext cx="3714077" cy="276999"/>
          </a:xfrm>
          <a:prstGeom prst="rect">
            <a:avLst/>
          </a:prstGeom>
          <a:noFill/>
        </p:spPr>
        <p:txBody>
          <a:bodyPr wrap="square" lIns="180000" tIns="0" rIns="0" bIns="0" numCol="1" spcCol="360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(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Euthanasi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)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626F09A-9927-44E0-8C93-0B3DF302DDC2}"/>
              </a:ext>
            </a:extLst>
          </p:cNvPr>
          <p:cNvSpPr/>
          <p:nvPr/>
        </p:nvSpPr>
        <p:spPr>
          <a:xfrm>
            <a:off x="4305298" y="5409049"/>
            <a:ext cx="536340" cy="5363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615CCB3-3047-4833-93FE-FA7DC339E82D}"/>
              </a:ext>
            </a:extLst>
          </p:cNvPr>
          <p:cNvSpPr/>
          <p:nvPr/>
        </p:nvSpPr>
        <p:spPr>
          <a:xfrm>
            <a:off x="4305298" y="4650472"/>
            <a:ext cx="536340" cy="5363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A6B057BC-924B-4E31-982A-C93A8BC723B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67703" y="4024187"/>
            <a:ext cx="211530" cy="306000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B14AC784-F8A4-4E32-B5BE-0EDCE28E9D3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11468" y="3300792"/>
            <a:ext cx="324000" cy="235636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0EAF9B76-1DCB-47A8-AD5E-BB479908E02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455650" y="2495579"/>
            <a:ext cx="235636" cy="324000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B6B584C7-C2BF-4C53-BC2F-C0A72E8007E7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429468" y="4776536"/>
            <a:ext cx="288000" cy="284212"/>
          </a:xfrm>
          <a:prstGeom prst="rect">
            <a:avLst/>
          </a:prstGeom>
        </p:spPr>
      </p:pic>
      <p:pic>
        <p:nvPicPr>
          <p:cNvPr id="29" name="Graphic 28">
            <a:extLst>
              <a:ext uri="{FF2B5EF4-FFF2-40B4-BE49-F238E27FC236}">
                <a16:creationId xmlns:a16="http://schemas.microsoft.com/office/drawing/2014/main" id="{30DC911B-BDB0-4529-9E68-4D2BDA44E32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484182" y="5515219"/>
            <a:ext cx="222750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00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2457559_Hospital_Assistance_Bed_3840x2160">
            <a:hlinkClick r:id="" action="ppaction://media"/>
            <a:extLst>
              <a:ext uri="{FF2B5EF4-FFF2-40B4-BE49-F238E27FC236}">
                <a16:creationId xmlns:a16="http://schemas.microsoft.com/office/drawing/2014/main" id="{6EFC6243-43A7-4DA5-A23A-93F07EAAB2D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45E3DA7F-1EC2-49A4-90D7-85127D0F8B3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>
              <a:lumMod val="5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36730C7D-496C-455D-A259-8AB81851013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sz="44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Hoe </a:t>
            </a:r>
            <a:r>
              <a:rPr lang="en-US" sz="44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gaan</a:t>
            </a:r>
            <a:r>
              <a:rPr lang="en-US" sz="44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 we </a:t>
            </a:r>
            <a:r>
              <a:rPr lang="en-US" sz="4400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dood</a:t>
            </a:r>
            <a:r>
              <a:rPr lang="en-US" sz="44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?</a:t>
            </a:r>
          </a:p>
          <a:p>
            <a:r>
              <a:rPr lang="en-US" sz="6000" dirty="0"/>
              <a:t>Final common pathway</a:t>
            </a:r>
            <a:endParaRPr lang="ru-RU" sz="60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4246525-AEEA-4054-9B6C-5A1416123F2D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22562" y="432084"/>
            <a:ext cx="1217970" cy="298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6394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5557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7" repeatCount="indefinite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664BB3-2E6C-4FDE-BD12-D9E7D9E3E2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l common pathway</a:t>
            </a:r>
            <a:endParaRPr lang="ru-RU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F9FADF9-2601-407A-A17E-7551FB715BDE}"/>
              </a:ext>
            </a:extLst>
          </p:cNvPr>
          <p:cNvSpPr txBox="1"/>
          <p:nvPr/>
        </p:nvSpPr>
        <p:spPr>
          <a:xfrm>
            <a:off x="371475" y="1457339"/>
            <a:ext cx="5724525" cy="61555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9E35"/>
              </a:buClr>
              <a:buSzTx/>
              <a:buFontTx/>
              <a:buNone/>
              <a:tabLst/>
              <a:defRPr/>
            </a:pP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Metabole ontregeling van het lichaam (vrijkomen van cytokines) leidt tot een </a:t>
            </a:r>
            <a:r>
              <a:rPr kumimoji="0" lang="nl-NL" sz="2000" b="1" i="0" u="none" strike="noStrike" kern="1200" cap="none" spc="0" normalizeH="0" baseline="0" noProof="0" dirty="0">
                <a:ln>
                  <a:noFill/>
                </a:ln>
                <a:solidFill>
                  <a:srgbClr val="769D94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cascade aan reacties: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338DB3B0-FE33-47CF-92F7-1DD5F700B20C}"/>
              </a:ext>
            </a:extLst>
          </p:cNvPr>
          <p:cNvCxnSpPr>
            <a:cxnSpLocks/>
            <a:stCxn id="8" idx="6"/>
            <a:endCxn id="9" idx="2"/>
          </p:cNvCxnSpPr>
          <p:nvPr/>
        </p:nvCxnSpPr>
        <p:spPr>
          <a:xfrm>
            <a:off x="1173804" y="3321677"/>
            <a:ext cx="1875278" cy="0"/>
          </a:xfrm>
          <a:prstGeom prst="line">
            <a:avLst/>
          </a:prstGeom>
          <a:noFill/>
          <a:ln w="190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3DE7328-856F-459B-B338-1C9372A194A7}"/>
              </a:ext>
            </a:extLst>
          </p:cNvPr>
          <p:cNvCxnSpPr>
            <a:cxnSpLocks/>
            <a:stCxn id="9" idx="6"/>
            <a:endCxn id="10" idx="2"/>
          </p:cNvCxnSpPr>
          <p:nvPr/>
        </p:nvCxnSpPr>
        <p:spPr>
          <a:xfrm>
            <a:off x="3851411" y="3321677"/>
            <a:ext cx="2527988" cy="0"/>
          </a:xfrm>
          <a:prstGeom prst="line">
            <a:avLst/>
          </a:prstGeom>
          <a:noFill/>
          <a:ln w="190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5E7E072-2F16-40CF-AFAA-30F8CFF43024}"/>
              </a:ext>
            </a:extLst>
          </p:cNvPr>
          <p:cNvCxnSpPr>
            <a:cxnSpLocks/>
            <a:stCxn id="10" idx="6"/>
            <a:endCxn id="11" idx="2"/>
          </p:cNvCxnSpPr>
          <p:nvPr/>
        </p:nvCxnSpPr>
        <p:spPr>
          <a:xfrm>
            <a:off x="7181728" y="3321677"/>
            <a:ext cx="2050131" cy="0"/>
          </a:xfrm>
          <a:prstGeom prst="line">
            <a:avLst/>
          </a:prstGeom>
          <a:noFill/>
          <a:ln w="19050"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pSp>
        <p:nvGrpSpPr>
          <p:cNvPr id="42" name="Group 41">
            <a:extLst>
              <a:ext uri="{FF2B5EF4-FFF2-40B4-BE49-F238E27FC236}">
                <a16:creationId xmlns:a16="http://schemas.microsoft.com/office/drawing/2014/main" id="{B88D9981-A67F-4CEC-A371-203E0970C6A6}"/>
              </a:ext>
            </a:extLst>
          </p:cNvPr>
          <p:cNvGrpSpPr/>
          <p:nvPr/>
        </p:nvGrpSpPr>
        <p:grpSpPr>
          <a:xfrm>
            <a:off x="9184550" y="2920512"/>
            <a:ext cx="2635975" cy="2019101"/>
            <a:chOff x="9184550" y="2920512"/>
            <a:chExt cx="2635975" cy="2019101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F5CA4783-3F95-4C68-B0BD-5AA728FED61C}"/>
                </a:ext>
              </a:extLst>
            </p:cNvPr>
            <p:cNvSpPr txBox="1"/>
            <p:nvPr/>
          </p:nvSpPr>
          <p:spPr>
            <a:xfrm>
              <a:off x="9184550" y="3585396"/>
              <a:ext cx="960370" cy="13542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800" b="0" i="0" u="none" strike="noStrike" kern="1200" cap="none" spc="0" normalizeH="0" baseline="0" noProof="0" dirty="0">
                  <a:ln>
                    <a:noFill/>
                  </a:ln>
                  <a:solidFill>
                    <a:srgbClr val="B2B2B2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EB Garamond SemiBold"/>
                  <a:ea typeface="+mn-ea"/>
                  <a:cs typeface="+mn-cs"/>
                </a:rPr>
                <a:t>4</a:t>
              </a:r>
              <a:endParaRPr kumimoji="0" lang="ru-RU" sz="8800" b="0" i="0" u="none" strike="noStrike" kern="1200" cap="none" spc="0" normalizeH="0" baseline="0" noProof="0" dirty="0">
                <a:ln>
                  <a:noFill/>
                </a:ln>
                <a:solidFill>
                  <a:srgbClr val="B2B2B2">
                    <a:lumMod val="20000"/>
                    <a:lumOff val="80000"/>
                  </a:srgbClr>
                </a:solidFill>
                <a:effectLst/>
                <a:uLnTx/>
                <a:uFillTx/>
                <a:latin typeface="EB Garamond SemiBold"/>
                <a:ea typeface="+mn-ea"/>
                <a:cs typeface="+mn-cs"/>
              </a:endParaRPr>
            </a:p>
          </p:txBody>
        </p:sp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AC379C15-7E87-4868-A6ED-622D10455F54}"/>
                </a:ext>
              </a:extLst>
            </p:cNvPr>
            <p:cNvSpPr/>
            <p:nvPr/>
          </p:nvSpPr>
          <p:spPr>
            <a:xfrm>
              <a:off x="9231859" y="2920512"/>
              <a:ext cx="802329" cy="802329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5A67DC4-547E-4BD0-B574-CDF63D7F4887}"/>
                </a:ext>
              </a:extLst>
            </p:cNvPr>
            <p:cNvSpPr txBox="1"/>
            <p:nvPr/>
          </p:nvSpPr>
          <p:spPr>
            <a:xfrm>
              <a:off x="9231859" y="3985506"/>
              <a:ext cx="2588666" cy="553998"/>
            </a:xfrm>
            <a:prstGeom prst="rect">
              <a:avLst/>
            </a:prstGeom>
            <a:noFill/>
          </p:spPr>
          <p:txBody>
            <a:bodyPr wrap="square" lIns="0" tIns="0" rIns="0" bIns="0" numCol="1" spcCol="36000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8424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Cerebraal zuurstoftekort en ischemie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6E573CEF-BE1B-4A59-AF1F-A1F6F6C13A3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453023" y="3141676"/>
              <a:ext cx="360000" cy="360000"/>
            </a:xfrm>
            <a:prstGeom prst="rect">
              <a:avLst/>
            </a:prstGeom>
          </p:spPr>
        </p:pic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3DB4479F-06C6-43C3-965A-74DDCFC0412B}"/>
              </a:ext>
            </a:extLst>
          </p:cNvPr>
          <p:cNvGrpSpPr/>
          <p:nvPr/>
        </p:nvGrpSpPr>
        <p:grpSpPr>
          <a:xfrm>
            <a:off x="6300378" y="2920512"/>
            <a:ext cx="2189829" cy="2019101"/>
            <a:chOff x="6300378" y="2920512"/>
            <a:chExt cx="2189829" cy="2019101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0EC46613-C3EF-4179-904B-150CDFD38C73}"/>
                </a:ext>
              </a:extLst>
            </p:cNvPr>
            <p:cNvSpPr txBox="1"/>
            <p:nvPr/>
          </p:nvSpPr>
          <p:spPr>
            <a:xfrm>
              <a:off x="6300378" y="3585396"/>
              <a:ext cx="960370" cy="13542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800" b="0" i="0" u="none" strike="noStrike" kern="1200" cap="none" spc="0" normalizeH="0" baseline="0" noProof="0" dirty="0">
                  <a:ln>
                    <a:noFill/>
                  </a:ln>
                  <a:solidFill>
                    <a:srgbClr val="B2B2B2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EB Garamond SemiBold"/>
                  <a:ea typeface="+mn-ea"/>
                  <a:cs typeface="+mn-cs"/>
                </a:rPr>
                <a:t>3</a:t>
              </a:r>
              <a:endParaRPr kumimoji="0" lang="ru-RU" sz="8800" b="0" i="0" u="none" strike="noStrike" kern="1200" cap="none" spc="0" normalizeH="0" baseline="0" noProof="0" dirty="0">
                <a:ln>
                  <a:noFill/>
                </a:ln>
                <a:solidFill>
                  <a:srgbClr val="B2B2B2">
                    <a:lumMod val="20000"/>
                    <a:lumOff val="80000"/>
                  </a:srgbClr>
                </a:solidFill>
                <a:effectLst/>
                <a:uLnTx/>
                <a:uFillTx/>
                <a:latin typeface="EB Garamond SemiBold"/>
                <a:ea typeface="+mn-ea"/>
                <a:cs typeface="+mn-cs"/>
              </a:endParaRPr>
            </a:p>
          </p:txBody>
        </p:sp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0A348082-ACD1-4062-88FF-5AEAE2473AE5}"/>
                </a:ext>
              </a:extLst>
            </p:cNvPr>
            <p:cNvSpPr/>
            <p:nvPr/>
          </p:nvSpPr>
          <p:spPr>
            <a:xfrm>
              <a:off x="6379399" y="2920512"/>
              <a:ext cx="802329" cy="802329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367066E4-DFBB-423C-A34B-4067A3279C47}"/>
                </a:ext>
              </a:extLst>
            </p:cNvPr>
            <p:cNvSpPr txBox="1"/>
            <p:nvPr/>
          </p:nvSpPr>
          <p:spPr>
            <a:xfrm>
              <a:off x="6379399" y="3985506"/>
              <a:ext cx="2110808" cy="553998"/>
            </a:xfrm>
            <a:prstGeom prst="rect">
              <a:avLst/>
            </a:prstGeom>
            <a:noFill/>
          </p:spPr>
          <p:txBody>
            <a:bodyPr wrap="square" lIns="0" tIns="0" rIns="0" bIns="0" numCol="1" spcCol="36000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8424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Verminderde functie </a:t>
              </a:r>
              <a:br>
                <a:rPr kumimoji="0" lang="nl-NL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8424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</a:br>
              <a:r>
                <a:rPr kumimoji="0" lang="nl-NL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8424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van lever- en nieren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25BF509B-929F-499D-93B8-974DDF8D3D5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6564563" y="3157611"/>
              <a:ext cx="432000" cy="328131"/>
            </a:xfrm>
            <a:prstGeom prst="rect">
              <a:avLst/>
            </a:prstGeom>
          </p:spPr>
        </p:pic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1CB1DF53-6B20-4F41-A84B-565CDACE2C24}"/>
              </a:ext>
            </a:extLst>
          </p:cNvPr>
          <p:cNvGrpSpPr/>
          <p:nvPr/>
        </p:nvGrpSpPr>
        <p:grpSpPr>
          <a:xfrm>
            <a:off x="2955773" y="2920512"/>
            <a:ext cx="2681975" cy="2019101"/>
            <a:chOff x="2955773" y="2920512"/>
            <a:chExt cx="2681975" cy="2019101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B2834B2-818B-4773-9B49-6A5D7DD2FB2A}"/>
                </a:ext>
              </a:extLst>
            </p:cNvPr>
            <p:cNvSpPr txBox="1"/>
            <p:nvPr/>
          </p:nvSpPr>
          <p:spPr>
            <a:xfrm>
              <a:off x="2955773" y="3585396"/>
              <a:ext cx="960370" cy="13542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800" b="0" i="0" u="none" strike="noStrike" kern="1200" cap="none" spc="0" normalizeH="0" baseline="0" noProof="0" dirty="0">
                  <a:ln>
                    <a:noFill/>
                  </a:ln>
                  <a:solidFill>
                    <a:srgbClr val="B2B2B2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EB Garamond SemiBold"/>
                  <a:ea typeface="+mn-ea"/>
                  <a:cs typeface="+mn-cs"/>
                </a:rPr>
                <a:t>2</a:t>
              </a:r>
              <a:endParaRPr kumimoji="0" lang="ru-RU" sz="8800" b="0" i="0" u="none" strike="noStrike" kern="1200" cap="none" spc="0" normalizeH="0" baseline="0" noProof="0" dirty="0">
                <a:ln>
                  <a:noFill/>
                </a:ln>
                <a:solidFill>
                  <a:srgbClr val="B2B2B2">
                    <a:lumMod val="20000"/>
                    <a:lumOff val="80000"/>
                  </a:srgbClr>
                </a:solidFill>
                <a:effectLst/>
                <a:uLnTx/>
                <a:uFillTx/>
                <a:latin typeface="EB Garamond SemiBold"/>
                <a:ea typeface="+mn-ea"/>
                <a:cs typeface="+mn-cs"/>
              </a:endParaRPr>
            </a:p>
          </p:txBody>
        </p:sp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C15FCE65-8EC8-4B89-A6B3-3F2B20D95525}"/>
                </a:ext>
              </a:extLst>
            </p:cNvPr>
            <p:cNvSpPr/>
            <p:nvPr/>
          </p:nvSpPr>
          <p:spPr>
            <a:xfrm>
              <a:off x="3049082" y="2920512"/>
              <a:ext cx="802329" cy="802329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856D822-E729-4703-8D4B-7F2C2F988FB4}"/>
                </a:ext>
              </a:extLst>
            </p:cNvPr>
            <p:cNvSpPr txBox="1"/>
            <p:nvPr/>
          </p:nvSpPr>
          <p:spPr>
            <a:xfrm>
              <a:off x="3049082" y="3985506"/>
              <a:ext cx="2588666" cy="553998"/>
            </a:xfrm>
            <a:prstGeom prst="rect">
              <a:avLst/>
            </a:prstGeom>
            <a:noFill/>
          </p:spPr>
          <p:txBody>
            <a:bodyPr wrap="square" lIns="0" tIns="0" rIns="0" bIns="0" numCol="1" spcCol="36000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8424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Verminderde pompfunctie van het hart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pic>
          <p:nvPicPr>
            <p:cNvPr id="29" name="Graphic 28">
              <a:extLst>
                <a:ext uri="{FF2B5EF4-FFF2-40B4-BE49-F238E27FC236}">
                  <a16:creationId xmlns:a16="http://schemas.microsoft.com/office/drawing/2014/main" id="{7693FE2F-2643-46F7-B318-6B018B4331E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3294920" y="3105676"/>
              <a:ext cx="310652" cy="432000"/>
            </a:xfrm>
            <a:prstGeom prst="rect">
              <a:avLst/>
            </a:prstGeom>
          </p:spPr>
        </p:pic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37C7A63D-7133-4A90-BF80-D04C4CB993E6}"/>
              </a:ext>
            </a:extLst>
          </p:cNvPr>
          <p:cNvGrpSpPr/>
          <p:nvPr/>
        </p:nvGrpSpPr>
        <p:grpSpPr>
          <a:xfrm>
            <a:off x="263878" y="2920512"/>
            <a:ext cx="2043553" cy="2019101"/>
            <a:chOff x="263878" y="2920512"/>
            <a:chExt cx="2043553" cy="2019101"/>
          </a:xfrm>
        </p:grpSpPr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ACC14E1D-11D9-481D-ABD6-DCDA9DB388BE}"/>
                </a:ext>
              </a:extLst>
            </p:cNvPr>
            <p:cNvSpPr txBox="1"/>
            <p:nvPr/>
          </p:nvSpPr>
          <p:spPr>
            <a:xfrm>
              <a:off x="263878" y="3585396"/>
              <a:ext cx="960370" cy="135421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800" b="0" i="0" u="none" strike="noStrike" kern="1200" cap="none" spc="0" normalizeH="0" baseline="0" noProof="0" dirty="0">
                  <a:ln>
                    <a:noFill/>
                  </a:ln>
                  <a:solidFill>
                    <a:srgbClr val="B2B2B2">
                      <a:lumMod val="20000"/>
                      <a:lumOff val="80000"/>
                    </a:srgbClr>
                  </a:solidFill>
                  <a:effectLst/>
                  <a:uLnTx/>
                  <a:uFillTx/>
                  <a:latin typeface="EB Garamond SemiBold"/>
                  <a:ea typeface="+mn-ea"/>
                  <a:cs typeface="+mn-cs"/>
                </a:rPr>
                <a:t>1</a:t>
              </a:r>
              <a:endParaRPr kumimoji="0" lang="ru-RU" sz="8800" b="0" i="0" u="none" strike="noStrike" kern="1200" cap="none" spc="0" normalizeH="0" baseline="0" noProof="0" dirty="0">
                <a:ln>
                  <a:noFill/>
                </a:ln>
                <a:solidFill>
                  <a:srgbClr val="B2B2B2">
                    <a:lumMod val="20000"/>
                    <a:lumOff val="80000"/>
                  </a:srgbClr>
                </a:solidFill>
                <a:effectLst/>
                <a:uLnTx/>
                <a:uFillTx/>
                <a:latin typeface="EB Garamond SemiBold"/>
                <a:ea typeface="+mn-ea"/>
                <a:cs typeface="+mn-cs"/>
              </a:endParaRP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74A9FAD9-B6A2-4915-9F5C-81039A1D7199}"/>
                </a:ext>
              </a:extLst>
            </p:cNvPr>
            <p:cNvSpPr txBox="1"/>
            <p:nvPr/>
          </p:nvSpPr>
          <p:spPr>
            <a:xfrm>
              <a:off x="371475" y="3985506"/>
              <a:ext cx="1935956" cy="553998"/>
            </a:xfrm>
            <a:prstGeom prst="rect">
              <a:avLst/>
            </a:prstGeom>
            <a:noFill/>
          </p:spPr>
          <p:txBody>
            <a:bodyPr wrap="square" lIns="0" tIns="0" rIns="0" bIns="0" numCol="1" spcCol="36000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48424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Anorexie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8424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/</a:t>
              </a:r>
              <a:b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8424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</a:br>
              <a:r>
                <a: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48424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cachexiesyndroom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8" name="Oval 7">
              <a:extLst>
                <a:ext uri="{FF2B5EF4-FFF2-40B4-BE49-F238E27FC236}">
                  <a16:creationId xmlns:a16="http://schemas.microsoft.com/office/drawing/2014/main" id="{6DA4BB07-2F2C-46BD-AD69-F5F411D4155C}"/>
                </a:ext>
              </a:extLst>
            </p:cNvPr>
            <p:cNvSpPr/>
            <p:nvPr/>
          </p:nvSpPr>
          <p:spPr>
            <a:xfrm>
              <a:off x="371475" y="2920512"/>
              <a:ext cx="802329" cy="802329"/>
            </a:xfrm>
            <a:prstGeom prst="ellipse">
              <a:avLst/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pic>
          <p:nvPicPr>
            <p:cNvPr id="34" name="Graphic 33">
              <a:extLst>
                <a:ext uri="{FF2B5EF4-FFF2-40B4-BE49-F238E27FC236}">
                  <a16:creationId xmlns:a16="http://schemas.microsoft.com/office/drawing/2014/main" id="{F221A675-29E0-4A85-9C2A-2E0BFBE3934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56639" y="3105676"/>
              <a:ext cx="432000" cy="432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201160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4FAB00-C1ED-4F6D-A70E-F22D67F3E4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Gedaalde cardiac output</a:t>
            </a:r>
            <a:endParaRPr lang="ru-RU" dirty="0"/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3390D847-39CE-4D9A-8CAE-5FDC7B14879F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60" b="993"/>
          <a:stretch/>
        </p:blipFill>
        <p:spPr>
          <a:xfrm>
            <a:off x="372150" y="1449338"/>
            <a:ext cx="3571200" cy="4680000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D4F71C6-0E31-4981-A2FD-CACCC103AE31}"/>
              </a:ext>
            </a:extLst>
          </p:cNvPr>
          <p:cNvSpPr txBox="1"/>
          <p:nvPr/>
        </p:nvSpPr>
        <p:spPr>
          <a:xfrm>
            <a:off x="4314695" y="2179507"/>
            <a:ext cx="3571200" cy="3308598"/>
          </a:xfrm>
          <a:prstGeom prst="rect">
            <a:avLst/>
          </a:prstGeom>
          <a:noFill/>
        </p:spPr>
        <p:txBody>
          <a:bodyPr wrap="square" lIns="0" tIns="0" rIns="0" bIns="0" numCol="1" spcCol="360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769D94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aling cardiac output: </a:t>
            </a:r>
            <a:b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769D94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769D94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lechte perifere circulatie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769D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Huidafwijkingen (livido reticularis)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769D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Fascia hippocratica / </a:t>
            </a:r>
            <a:b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ngevallen gelaat / spitse neus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769D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roge slijmvliezen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769D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Nierinsufficiëntie </a:t>
            </a: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→ </a:t>
            </a:r>
            <a:b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uremie </a:t>
            </a: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→</a:t>
            </a: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sufheid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769D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Nierinsufficiëntie </a:t>
            </a: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→</a:t>
            </a: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b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lechtere klaring medicatie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769D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Oligurie / anurie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17F8E8F9-D2AE-4A84-B824-3AD717758961}"/>
              </a:ext>
            </a:extLst>
          </p:cNvPr>
          <p:cNvSpPr/>
          <p:nvPr/>
        </p:nvSpPr>
        <p:spPr>
          <a:xfrm>
            <a:off x="4314695" y="1458425"/>
            <a:ext cx="536340" cy="53634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831D8692-238E-4391-81A1-8EC1C9117B1E}"/>
              </a:ext>
            </a:extLst>
          </p:cNvPr>
          <p:cNvSpPr/>
          <p:nvPr/>
        </p:nvSpPr>
        <p:spPr>
          <a:xfrm>
            <a:off x="8259369" y="1458425"/>
            <a:ext cx="536340" cy="53634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A05AED2-A83F-4F62-B352-77C2C0B31E66}"/>
              </a:ext>
            </a:extLst>
          </p:cNvPr>
          <p:cNvSpPr txBox="1"/>
          <p:nvPr/>
        </p:nvSpPr>
        <p:spPr>
          <a:xfrm>
            <a:off x="8245475" y="2179507"/>
            <a:ext cx="3571200" cy="553998"/>
          </a:xfrm>
          <a:prstGeom prst="rect">
            <a:avLst/>
          </a:prstGeom>
          <a:noFill/>
        </p:spPr>
        <p:txBody>
          <a:bodyPr wrap="square" lIns="0" tIns="0" rIns="0" bIns="0" numCol="1" spcCol="360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769D94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Lever insufficiëntie: </a:t>
            </a:r>
            <a:b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769D94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769D94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ufheid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04C88FB-FA5B-46C6-9F7B-8B1E2AD97B19}"/>
              </a:ext>
            </a:extLst>
          </p:cNvPr>
          <p:cNvSpPr txBox="1"/>
          <p:nvPr/>
        </p:nvSpPr>
        <p:spPr>
          <a:xfrm>
            <a:off x="8257240" y="4210832"/>
            <a:ext cx="3571200" cy="1277273"/>
          </a:xfrm>
          <a:prstGeom prst="rect">
            <a:avLst/>
          </a:prstGeom>
          <a:noFill/>
        </p:spPr>
        <p:txBody>
          <a:bodyPr wrap="square" lIns="0" tIns="0" rIns="0" bIns="0" numCol="1" spcCol="360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769D94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Respiratoire insufficiëntie </a:t>
            </a:r>
            <a:b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769D94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769D94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oor longoedeem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769D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Benauwdheid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769D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ufheid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B99536C-210D-4441-A9FF-81DA7A34BD6C}"/>
              </a:ext>
            </a:extLst>
          </p:cNvPr>
          <p:cNvSpPr/>
          <p:nvPr/>
        </p:nvSpPr>
        <p:spPr>
          <a:xfrm>
            <a:off x="8257240" y="3489750"/>
            <a:ext cx="536340" cy="53634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CA75CA8B-D3B9-412C-8D69-4290A66B038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72842" y="1573595"/>
            <a:ext cx="220045" cy="306000"/>
          </a:xfrm>
          <a:prstGeom prst="rect">
            <a:avLst/>
          </a:prstGeom>
        </p:spPr>
      </p:pic>
      <p:pic>
        <p:nvPicPr>
          <p:cNvPr id="22" name="Graphic 21">
            <a:extLst>
              <a:ext uri="{FF2B5EF4-FFF2-40B4-BE49-F238E27FC236}">
                <a16:creationId xmlns:a16="http://schemas.microsoft.com/office/drawing/2014/main" id="{1694B94C-B088-425E-A42F-9BB945B8D41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74539" y="1596198"/>
            <a:ext cx="306000" cy="260795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F1830CBD-A32F-41AA-9FF2-17DA3966520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372410" y="3604920"/>
            <a:ext cx="306000" cy="30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4315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5" grpId="0"/>
      <p:bldP spid="18" grpId="0"/>
      <p:bldP spid="1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C052D76-A9D5-4ECC-87D2-BEA1B347E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4400" dirty="0"/>
              <a:t>Palliatieve zorg</a:t>
            </a:r>
            <a:br>
              <a:rPr lang="nl-NL" sz="4400" dirty="0"/>
            </a:br>
            <a:r>
              <a:rPr lang="nl-NL" sz="4400" dirty="0"/>
              <a:t>“Leven toevoegen aan de dagen”</a:t>
            </a:r>
            <a:endParaRPr lang="ru-RU" sz="4400" dirty="0">
              <a:latin typeface="EB Garamond" panose="00000500000000000000" pitchFamily="2" charset="0"/>
              <a:ea typeface="EB Garamond" panose="00000500000000000000" pitchFamily="2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B4F0566-15F5-499F-8D6C-B6BB864B492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71475" y="6215293"/>
            <a:ext cx="6878874" cy="274407"/>
          </a:xfrm>
        </p:spPr>
        <p:txBody>
          <a:bodyPr/>
          <a:lstStyle/>
          <a:p>
            <a:r>
              <a:rPr lang="en-US" b="1" dirty="0"/>
              <a:t>SM de </a:t>
            </a:r>
            <a:r>
              <a:rPr lang="en-US" b="1" dirty="0" err="1"/>
              <a:t>Hosson</a:t>
            </a:r>
            <a:r>
              <a:rPr lang="en-US" b="1" dirty="0"/>
              <a:t>, </a:t>
            </a:r>
            <a:r>
              <a:rPr lang="en-US" dirty="0" err="1"/>
              <a:t>Longarts</a:t>
            </a:r>
            <a:r>
              <a:rPr lang="en-US" dirty="0"/>
              <a:t> </a:t>
            </a:r>
            <a:r>
              <a:rPr lang="en-US" dirty="0">
                <a:solidFill>
                  <a:schemeClr val="accent5"/>
                </a:solidFill>
              </a:rPr>
              <a:t>| September 2023</a:t>
            </a:r>
            <a:endParaRPr lang="ru-RU" dirty="0">
              <a:solidFill>
                <a:schemeClr val="accent5"/>
              </a:solidFill>
            </a:endParaRPr>
          </a:p>
        </p:txBody>
      </p:sp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30F81185-F608-4A76-A896-BD5B54B7B65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85" b="878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844315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ED46359-C91B-4F8A-A088-B56A1CFFA7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Cerebrale hypoxie</a:t>
            </a:r>
            <a:endParaRPr lang="ru-RU" dirty="0"/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EB73BC88-DA66-4E12-8A2B-E45BD2CC1308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59" r="24559"/>
          <a:stretch>
            <a:fillRect/>
          </a:stretch>
        </p:blipFill>
        <p:spPr/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9BE5D06-7DE5-49C6-994E-505025FEC492}"/>
              </a:ext>
            </a:extLst>
          </p:cNvPr>
          <p:cNvSpPr txBox="1"/>
          <p:nvPr/>
        </p:nvSpPr>
        <p:spPr>
          <a:xfrm>
            <a:off x="4314695" y="2179507"/>
            <a:ext cx="3571200" cy="1846659"/>
          </a:xfrm>
          <a:prstGeom prst="rect">
            <a:avLst/>
          </a:prstGeom>
          <a:noFill/>
        </p:spPr>
        <p:txBody>
          <a:bodyPr wrap="square" lIns="0" tIns="0" rIns="0" bIns="0" numCol="1" spcCol="360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769D94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Zuurstoftekort in de hersenen.</a:t>
            </a:r>
            <a:b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769D94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769D94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it leidt tot: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769D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ufheid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769D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Afname reflexen: hoestreflex / slikreflex: reutelen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769D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Cheynes-Stokes Ademhaling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1879CEE-AB10-4342-B287-B55512BA4BA6}"/>
              </a:ext>
            </a:extLst>
          </p:cNvPr>
          <p:cNvSpPr/>
          <p:nvPr/>
        </p:nvSpPr>
        <p:spPr>
          <a:xfrm>
            <a:off x="4314695" y="1458425"/>
            <a:ext cx="536340" cy="53634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86019B85-917D-42F2-AFA2-4ACD2C7BC8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45424" y="1573595"/>
            <a:ext cx="274881" cy="30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7359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8A0F7F-2EE3-4A2B-885E-EE028D550B8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Signalen van een naderende dood</a:t>
            </a:r>
            <a:endParaRPr lang="ru-RU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BBB7708-DD92-4022-8229-35B46E44A420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435301" y="5677863"/>
            <a:ext cx="1475753" cy="636353"/>
          </a:xfrm>
          <a:prstGeom prst="rect">
            <a:avLst/>
          </a:prstGeom>
        </p:spPr>
      </p:pic>
      <p:graphicFrame>
        <p:nvGraphicFramePr>
          <p:cNvPr id="5" name="Table 3">
            <a:extLst>
              <a:ext uri="{FF2B5EF4-FFF2-40B4-BE49-F238E27FC236}">
                <a16:creationId xmlns:a16="http://schemas.microsoft.com/office/drawing/2014/main" id="{629A772E-0489-4786-B728-D96FBB452A57}"/>
              </a:ext>
            </a:extLst>
          </p:cNvPr>
          <p:cNvGraphicFramePr>
            <a:graphicFrameLocks noGrp="1"/>
          </p:cNvGraphicFramePr>
          <p:nvPr/>
        </p:nvGraphicFramePr>
        <p:xfrm>
          <a:off x="371474" y="1449388"/>
          <a:ext cx="11449056" cy="22414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5705">
                  <a:extLst>
                    <a:ext uri="{9D8B030D-6E8A-4147-A177-3AD203B41FA5}">
                      <a16:colId xmlns:a16="http://schemas.microsoft.com/office/drawing/2014/main" val="2252618581"/>
                    </a:ext>
                  </a:extLst>
                </a:gridCol>
                <a:gridCol w="2441051">
                  <a:extLst>
                    <a:ext uri="{9D8B030D-6E8A-4147-A177-3AD203B41FA5}">
                      <a16:colId xmlns:a16="http://schemas.microsoft.com/office/drawing/2014/main" val="2801185856"/>
                    </a:ext>
                  </a:extLst>
                </a:gridCol>
                <a:gridCol w="954700">
                  <a:extLst>
                    <a:ext uri="{9D8B030D-6E8A-4147-A177-3AD203B41FA5}">
                      <a16:colId xmlns:a16="http://schemas.microsoft.com/office/drawing/2014/main" val="3141481225"/>
                    </a:ext>
                  </a:extLst>
                </a:gridCol>
                <a:gridCol w="954700">
                  <a:extLst>
                    <a:ext uri="{9D8B030D-6E8A-4147-A177-3AD203B41FA5}">
                      <a16:colId xmlns:a16="http://schemas.microsoft.com/office/drawing/2014/main" val="843417797"/>
                    </a:ext>
                  </a:extLst>
                </a:gridCol>
                <a:gridCol w="954700">
                  <a:extLst>
                    <a:ext uri="{9D8B030D-6E8A-4147-A177-3AD203B41FA5}">
                      <a16:colId xmlns:a16="http://schemas.microsoft.com/office/drawing/2014/main" val="4204431263"/>
                    </a:ext>
                  </a:extLst>
                </a:gridCol>
                <a:gridCol w="954700">
                  <a:extLst>
                    <a:ext uri="{9D8B030D-6E8A-4147-A177-3AD203B41FA5}">
                      <a16:colId xmlns:a16="http://schemas.microsoft.com/office/drawing/2014/main" val="278258723"/>
                    </a:ext>
                  </a:extLst>
                </a:gridCol>
                <a:gridCol w="954700">
                  <a:extLst>
                    <a:ext uri="{9D8B030D-6E8A-4147-A177-3AD203B41FA5}">
                      <a16:colId xmlns:a16="http://schemas.microsoft.com/office/drawing/2014/main" val="3869340764"/>
                    </a:ext>
                  </a:extLst>
                </a:gridCol>
                <a:gridCol w="954700">
                  <a:extLst>
                    <a:ext uri="{9D8B030D-6E8A-4147-A177-3AD203B41FA5}">
                      <a16:colId xmlns:a16="http://schemas.microsoft.com/office/drawing/2014/main" val="2717008731"/>
                    </a:ext>
                  </a:extLst>
                </a:gridCol>
                <a:gridCol w="954700">
                  <a:extLst>
                    <a:ext uri="{9D8B030D-6E8A-4147-A177-3AD203B41FA5}">
                      <a16:colId xmlns:a16="http://schemas.microsoft.com/office/drawing/2014/main" val="3912597855"/>
                    </a:ext>
                  </a:extLst>
                </a:gridCol>
                <a:gridCol w="954700">
                  <a:extLst>
                    <a:ext uri="{9D8B030D-6E8A-4147-A177-3AD203B41FA5}">
                      <a16:colId xmlns:a16="http://schemas.microsoft.com/office/drawing/2014/main" val="322827804"/>
                    </a:ext>
                  </a:extLst>
                </a:gridCol>
                <a:gridCol w="954700">
                  <a:extLst>
                    <a:ext uri="{9D8B030D-6E8A-4147-A177-3AD203B41FA5}">
                      <a16:colId xmlns:a16="http://schemas.microsoft.com/office/drawing/2014/main" val="3360106180"/>
                    </a:ext>
                  </a:extLst>
                </a:gridCol>
              </a:tblGrid>
              <a:tr h="470264">
                <a:tc gridSpan="2">
                  <a:txBody>
                    <a:bodyPr/>
                    <a:lstStyle/>
                    <a:p>
                      <a:pPr marL="87313" indent="0"/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Dag(</a:t>
                      </a:r>
                      <a:r>
                        <a:rPr lang="en-US" sz="1600" dirty="0" err="1">
                          <a:solidFill>
                            <a:schemeClr val="accent2"/>
                          </a:solidFill>
                        </a:rPr>
                        <a:t>en</a:t>
                      </a:r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) </a:t>
                      </a:r>
                      <a:r>
                        <a:rPr lang="en-US" sz="1600" dirty="0" err="1">
                          <a:solidFill>
                            <a:schemeClr val="accent2"/>
                          </a:solidFill>
                        </a:rPr>
                        <a:t>voor</a:t>
                      </a:r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accent2"/>
                          </a:solidFill>
                        </a:rPr>
                        <a:t>overlijden</a:t>
                      </a:r>
                      <a:endParaRPr lang="en-US" sz="1600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87313" indent="0"/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Dag(</a:t>
                      </a:r>
                      <a:r>
                        <a:rPr lang="en-US" sz="1600" dirty="0" err="1">
                          <a:solidFill>
                            <a:schemeClr val="accent2"/>
                          </a:solidFill>
                        </a:rPr>
                        <a:t>en</a:t>
                      </a:r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) </a:t>
                      </a:r>
                      <a:r>
                        <a:rPr lang="en-US" sz="1600" dirty="0" err="1">
                          <a:solidFill>
                            <a:schemeClr val="accent2"/>
                          </a:solidFill>
                        </a:rPr>
                        <a:t>voor</a:t>
                      </a:r>
                      <a:r>
                        <a:rPr lang="en-US" sz="1600" dirty="0">
                          <a:solidFill>
                            <a:schemeClr val="accent2"/>
                          </a:solidFill>
                        </a:rPr>
                        <a:t> </a:t>
                      </a:r>
                      <a:r>
                        <a:rPr lang="en-US" sz="1600" dirty="0" err="1">
                          <a:solidFill>
                            <a:schemeClr val="accent2"/>
                          </a:solidFill>
                        </a:rPr>
                        <a:t>overlijden</a:t>
                      </a:r>
                      <a:endParaRPr lang="en-US" sz="1600" dirty="0">
                        <a:solidFill>
                          <a:schemeClr val="accent2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algn="r">
                        <a:lnSpc>
                          <a:spcPct val="100000"/>
                        </a:lnSpc>
                        <a:spcBef>
                          <a:spcPts val="450"/>
                        </a:spcBef>
                      </a:pPr>
                      <a:r>
                        <a:rPr sz="16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-8</a:t>
                      </a:r>
                    </a:p>
                  </a:txBody>
                  <a:tcPr marL="0" marR="0" marT="571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algn="r">
                        <a:lnSpc>
                          <a:spcPct val="100000"/>
                        </a:lnSpc>
                        <a:spcBef>
                          <a:spcPts val="450"/>
                        </a:spcBef>
                      </a:pPr>
                      <a:r>
                        <a:rPr sz="16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-7</a:t>
                      </a:r>
                    </a:p>
                  </a:txBody>
                  <a:tcPr marL="0" marR="0" marT="571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algn="r">
                        <a:lnSpc>
                          <a:spcPct val="100000"/>
                        </a:lnSpc>
                        <a:spcBef>
                          <a:spcPts val="450"/>
                        </a:spcBef>
                      </a:pPr>
                      <a:r>
                        <a:rPr sz="16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-6</a:t>
                      </a:r>
                    </a:p>
                  </a:txBody>
                  <a:tcPr marL="0" marR="0" marT="571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algn="r">
                        <a:lnSpc>
                          <a:spcPct val="100000"/>
                        </a:lnSpc>
                        <a:spcBef>
                          <a:spcPts val="450"/>
                        </a:spcBef>
                      </a:pPr>
                      <a:r>
                        <a:rPr sz="16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-5</a:t>
                      </a:r>
                    </a:p>
                  </a:txBody>
                  <a:tcPr marL="0" marR="0" marT="571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algn="r">
                        <a:lnSpc>
                          <a:spcPct val="100000"/>
                        </a:lnSpc>
                        <a:spcBef>
                          <a:spcPts val="450"/>
                        </a:spcBef>
                      </a:pPr>
                      <a:r>
                        <a:rPr sz="16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-4</a:t>
                      </a:r>
                    </a:p>
                  </a:txBody>
                  <a:tcPr marL="0" marR="0" marT="571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algn="r">
                        <a:lnSpc>
                          <a:spcPct val="100000"/>
                        </a:lnSpc>
                        <a:spcBef>
                          <a:spcPts val="450"/>
                        </a:spcBef>
                      </a:pPr>
                      <a:r>
                        <a:rPr sz="16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-3</a:t>
                      </a:r>
                    </a:p>
                  </a:txBody>
                  <a:tcPr marL="0" marR="0" marT="571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algn="r">
                        <a:lnSpc>
                          <a:spcPct val="100000"/>
                        </a:lnSpc>
                        <a:spcBef>
                          <a:spcPts val="450"/>
                        </a:spcBef>
                      </a:pPr>
                      <a:r>
                        <a:rPr sz="16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-2</a:t>
                      </a:r>
                    </a:p>
                  </a:txBody>
                  <a:tcPr marL="0" marR="0" marT="571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710" algn="r">
                        <a:lnSpc>
                          <a:spcPct val="100000"/>
                        </a:lnSpc>
                        <a:spcBef>
                          <a:spcPts val="450"/>
                        </a:spcBef>
                      </a:pPr>
                      <a:r>
                        <a:rPr sz="16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-1</a:t>
                      </a:r>
                    </a:p>
                  </a:txBody>
                  <a:tcPr marL="0" marR="0" marT="571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algn="r">
                        <a:lnSpc>
                          <a:spcPct val="100000"/>
                        </a:lnSpc>
                        <a:spcBef>
                          <a:spcPts val="450"/>
                        </a:spcBef>
                      </a:pPr>
                      <a:r>
                        <a:rPr sz="1600" b="1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0" marR="0" marT="571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8197155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marL="252000">
                        <a:spcBef>
                          <a:spcPts val="1200"/>
                        </a:spcBef>
                      </a:pPr>
                      <a:endParaRPr lang="nl-NL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52000">
                        <a:spcBef>
                          <a:spcPts val="1200"/>
                        </a:spcBef>
                      </a:pPr>
                      <a:endParaRPr lang="nl-NL" sz="100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nl-NL" sz="10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ato Regular 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ato Regular 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ato Regular 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ato Regular 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ato Regular 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ato Regular 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ato Regular 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lato Regular 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7182594"/>
                  </a:ext>
                </a:extLst>
              </a:tr>
              <a:tr h="381832">
                <a:tc row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49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kern="1200" dirty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(% </a:t>
                      </a:r>
                      <a:r>
                        <a:rPr lang="en-US" sz="1600" b="0" kern="1200" dirty="0" err="1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patiënten</a:t>
                      </a:r>
                      <a:r>
                        <a:rPr lang="en-US" sz="1600" b="0" kern="1200" dirty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</a:txBody>
                  <a:tcPr marL="0" marR="0" marT="62865" marB="0" vert="vert27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6400">
                        <a:lnSpc>
                          <a:spcPct val="100000"/>
                        </a:lnSpc>
                        <a:spcBef>
                          <a:spcPts val="495"/>
                        </a:spcBef>
                      </a:pPr>
                      <a:r>
                        <a:rPr sz="1600" b="1" kern="1200" dirty="0" err="1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Reutelen</a:t>
                      </a:r>
                      <a:endParaRPr sz="1600" b="1" kern="1200" dirty="0">
                        <a:solidFill>
                          <a:srgbClr val="4842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2865" marB="0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algn="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0,9</a:t>
                      </a:r>
                    </a:p>
                  </a:txBody>
                  <a:tcPr marL="0" marR="0" marT="603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algn="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1,3</a:t>
                      </a:r>
                    </a:p>
                  </a:txBody>
                  <a:tcPr marL="0" marR="0" marT="603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algn="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1,9</a:t>
                      </a:r>
                      <a:endParaRPr sz="1600" b="0" kern="1200">
                        <a:solidFill>
                          <a:srgbClr val="4842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03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algn="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3,5</a:t>
                      </a:r>
                      <a:endParaRPr sz="1600" b="0" kern="1200">
                        <a:solidFill>
                          <a:srgbClr val="4842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03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algn="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5,1</a:t>
                      </a:r>
                    </a:p>
                  </a:txBody>
                  <a:tcPr marL="0" marR="0" marT="603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algn="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9,1</a:t>
                      </a:r>
                      <a:endParaRPr sz="1600" b="0" kern="1200">
                        <a:solidFill>
                          <a:srgbClr val="4842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03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algn="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15,2</a:t>
                      </a:r>
                      <a:endParaRPr sz="1600" b="0" kern="1200">
                        <a:solidFill>
                          <a:srgbClr val="4842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03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710" algn="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29,1</a:t>
                      </a:r>
                      <a:endParaRPr sz="1600" b="0" kern="1200">
                        <a:solidFill>
                          <a:srgbClr val="4842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03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algn="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47,6</a:t>
                      </a:r>
                      <a:endParaRPr sz="1600" b="0" kern="1200">
                        <a:solidFill>
                          <a:srgbClr val="4842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03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1406307"/>
                  </a:ext>
                </a:extLst>
              </a:tr>
              <a:tr h="381832">
                <a:tc vMerge="1">
                  <a:txBody>
                    <a:bodyPr/>
                    <a:lstStyle/>
                    <a:p>
                      <a:pPr marL="176400">
                        <a:lnSpc>
                          <a:spcPct val="100000"/>
                        </a:lnSpc>
                        <a:spcBef>
                          <a:spcPts val="495"/>
                        </a:spcBef>
                      </a:pPr>
                      <a:endParaRPr sz="1600" b="1" kern="1200" dirty="0">
                        <a:solidFill>
                          <a:srgbClr val="4842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2865" marB="0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6400">
                        <a:lnSpc>
                          <a:spcPct val="100000"/>
                        </a:lnSpc>
                        <a:spcBef>
                          <a:spcPts val="495"/>
                        </a:spcBef>
                      </a:pPr>
                      <a:r>
                        <a:rPr sz="1600" b="1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Apnoe</a:t>
                      </a:r>
                    </a:p>
                  </a:txBody>
                  <a:tcPr marL="0" marR="0" marT="62865" marB="0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0,1</a:t>
                      </a:r>
                      <a:endParaRPr sz="1600" b="0" kern="1200">
                        <a:solidFill>
                          <a:srgbClr val="4842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03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algn="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1,6</a:t>
                      </a:r>
                      <a:endParaRPr sz="1600" b="0" kern="1200">
                        <a:solidFill>
                          <a:srgbClr val="4842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03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algn="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2,5</a:t>
                      </a:r>
                    </a:p>
                  </a:txBody>
                  <a:tcPr marL="0" marR="0" marT="603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algn="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2,6</a:t>
                      </a:r>
                    </a:p>
                  </a:txBody>
                  <a:tcPr marL="0" marR="0" marT="603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algn="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3,5</a:t>
                      </a:r>
                    </a:p>
                  </a:txBody>
                  <a:tcPr marL="0" marR="0" marT="603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algn="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6,0</a:t>
                      </a:r>
                    </a:p>
                  </a:txBody>
                  <a:tcPr marL="0" marR="0" marT="603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algn="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10,5</a:t>
                      </a:r>
                      <a:endParaRPr sz="1600" b="0" kern="1200">
                        <a:solidFill>
                          <a:srgbClr val="4842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03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710" algn="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17,8</a:t>
                      </a:r>
                      <a:endParaRPr sz="1600" b="0" kern="1200">
                        <a:solidFill>
                          <a:srgbClr val="4842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03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algn="r">
                        <a:lnSpc>
                          <a:spcPct val="100000"/>
                        </a:lnSpc>
                        <a:spcBef>
                          <a:spcPts val="475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29,5</a:t>
                      </a:r>
                      <a:endParaRPr sz="1600" b="0" kern="1200">
                        <a:solidFill>
                          <a:srgbClr val="4842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0325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6497305"/>
                  </a:ext>
                </a:extLst>
              </a:tr>
              <a:tr h="381832">
                <a:tc vMerge="1">
                  <a:txBody>
                    <a:bodyPr/>
                    <a:lstStyle/>
                    <a:p>
                      <a:pPr marL="176400">
                        <a:lnSpc>
                          <a:spcPct val="100000"/>
                        </a:lnSpc>
                        <a:spcBef>
                          <a:spcPts val="495"/>
                        </a:spcBef>
                      </a:pPr>
                      <a:endParaRPr sz="1600" b="1" kern="1200" dirty="0">
                        <a:solidFill>
                          <a:srgbClr val="4842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2865" marB="0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6400">
                        <a:lnSpc>
                          <a:spcPct val="100000"/>
                        </a:lnSpc>
                        <a:spcBef>
                          <a:spcPts val="495"/>
                        </a:spcBef>
                      </a:pPr>
                      <a:r>
                        <a:rPr sz="1600" b="1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Anurie</a:t>
                      </a:r>
                    </a:p>
                  </a:txBody>
                  <a:tcPr marL="0" marR="0" marT="62865" marB="0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1440" algn="r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2,3</a:t>
                      </a:r>
                      <a:endParaRPr sz="1600" b="0" kern="1200">
                        <a:solidFill>
                          <a:srgbClr val="4842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096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algn="r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2,2</a:t>
                      </a:r>
                      <a:endParaRPr sz="1600" b="0" kern="1200">
                        <a:solidFill>
                          <a:srgbClr val="4842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096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algn="r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3,2</a:t>
                      </a:r>
                      <a:endParaRPr sz="1600" b="0" kern="1200">
                        <a:solidFill>
                          <a:srgbClr val="4842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096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algn="r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3,6</a:t>
                      </a:r>
                      <a:endParaRPr sz="1600" b="0" kern="1200">
                        <a:solidFill>
                          <a:srgbClr val="4842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096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algn="r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4,5</a:t>
                      </a:r>
                      <a:endParaRPr sz="1600" b="0" kern="1200">
                        <a:solidFill>
                          <a:srgbClr val="4842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096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algn="r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7,3</a:t>
                      </a:r>
                    </a:p>
                  </a:txBody>
                  <a:tcPr marL="0" marR="0" marT="6096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algn="r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14,2</a:t>
                      </a:r>
                    </a:p>
                  </a:txBody>
                  <a:tcPr marL="0" marR="0" marT="6096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710" algn="r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31,1</a:t>
                      </a:r>
                    </a:p>
                  </a:txBody>
                  <a:tcPr marL="0" marR="0" marT="6096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92075" algn="r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47,3</a:t>
                      </a:r>
                      <a:endParaRPr sz="1600" b="0" kern="1200">
                        <a:solidFill>
                          <a:srgbClr val="4842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096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9616842"/>
                  </a:ext>
                </a:extLst>
              </a:tr>
              <a:tr h="381832">
                <a:tc vMerge="1">
                  <a:txBody>
                    <a:bodyPr/>
                    <a:lstStyle/>
                    <a:p>
                      <a:pPr marL="176400">
                        <a:lnSpc>
                          <a:spcPct val="100000"/>
                        </a:lnSpc>
                        <a:spcBef>
                          <a:spcPts val="495"/>
                        </a:spcBef>
                      </a:pPr>
                      <a:endParaRPr sz="1600" b="1" kern="1200" dirty="0">
                        <a:solidFill>
                          <a:srgbClr val="4842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2865" marB="0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6400">
                        <a:lnSpc>
                          <a:spcPct val="100000"/>
                        </a:lnSpc>
                        <a:spcBef>
                          <a:spcPts val="495"/>
                        </a:spcBef>
                      </a:pPr>
                      <a:r>
                        <a:rPr sz="1600" b="1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Somnolentie</a:t>
                      </a:r>
                    </a:p>
                  </a:txBody>
                  <a:tcPr marL="0" marR="0" marT="62865" marB="0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1440" algn="r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5,7</a:t>
                      </a:r>
                      <a:endParaRPr sz="1600" b="0" kern="1200">
                        <a:solidFill>
                          <a:srgbClr val="4842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096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algn="r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7,3</a:t>
                      </a:r>
                      <a:endParaRPr sz="1600" b="0" kern="1200">
                        <a:solidFill>
                          <a:srgbClr val="4842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096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algn="r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9,3</a:t>
                      </a:r>
                      <a:endParaRPr sz="1600" b="0" kern="1200">
                        <a:solidFill>
                          <a:srgbClr val="4842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096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algn="r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12,7</a:t>
                      </a:r>
                      <a:endParaRPr sz="1600" b="0" kern="1200">
                        <a:solidFill>
                          <a:srgbClr val="4842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096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algn="r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17,4</a:t>
                      </a:r>
                    </a:p>
                  </a:txBody>
                  <a:tcPr marL="0" marR="0" marT="6096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algn="r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23,9</a:t>
                      </a:r>
                      <a:endParaRPr sz="1600" b="0" kern="1200">
                        <a:solidFill>
                          <a:srgbClr val="4842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6096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algn="r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36,2</a:t>
                      </a:r>
                    </a:p>
                  </a:txBody>
                  <a:tcPr marL="0" marR="0" marT="6096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710" algn="r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57,2</a:t>
                      </a:r>
                    </a:p>
                  </a:txBody>
                  <a:tcPr marL="0" marR="0" marT="6096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2075" algn="r">
                        <a:lnSpc>
                          <a:spcPct val="100000"/>
                        </a:lnSpc>
                        <a:spcBef>
                          <a:spcPts val="480"/>
                        </a:spcBef>
                      </a:pPr>
                      <a:r>
                        <a:rPr sz="1600" b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75,0</a:t>
                      </a:r>
                    </a:p>
                  </a:txBody>
                  <a:tcPr marL="0" marR="0" marT="6096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0984005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3244A3C0-8C54-48F2-948F-6BF12D0A774C}"/>
              </a:ext>
            </a:extLst>
          </p:cNvPr>
          <p:cNvSpPr txBox="1"/>
          <p:nvPr/>
        </p:nvSpPr>
        <p:spPr>
          <a:xfrm>
            <a:off x="371475" y="6034680"/>
            <a:ext cx="7512050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800" b="0" i="1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Hufkens, K. (2003). Objectief waarneembare tekens van het naderend overlijden bij  palliatieve patiënten. </a:t>
            </a:r>
            <a:br>
              <a:rPr kumimoji="0" lang="nl-NL" sz="800" b="0" i="1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800" b="0" i="1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Afstudeerscriptie, faculteit Medisch-Sociale wetenschappen,  Katholieke Universiteit Leuven</a:t>
            </a:r>
          </a:p>
        </p:txBody>
      </p:sp>
    </p:spTree>
    <p:extLst>
      <p:ext uri="{BB962C8B-B14F-4D97-AF65-F5344CB8AC3E}">
        <p14:creationId xmlns:p14="http://schemas.microsoft.com/office/powerpoint/2010/main" val="622769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0A03E6-A5F3-4804-A946-11B84A057B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Signalen van een naderende dood</a:t>
            </a:r>
            <a:endParaRPr lang="ru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44309D7-A700-4B36-9E6E-FB1E681D9B34}"/>
              </a:ext>
            </a:extLst>
          </p:cNvPr>
          <p:cNvSpPr txBox="1"/>
          <p:nvPr/>
        </p:nvSpPr>
        <p:spPr>
          <a:xfrm>
            <a:off x="371475" y="6034680"/>
            <a:ext cx="7512050" cy="33855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800" b="0" i="1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Hufkens, K. (2003). Objectief waarneembare tekens van het naderend overlijden bij  palliatieve patiënten. </a:t>
            </a:r>
            <a:br>
              <a:rPr kumimoji="0" lang="nl-NL" sz="800" b="0" i="1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800" b="0" i="1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Afstudeerscriptie, faculteit Medisch-Sociale wetenschappen,  Katholieke Universiteit Leuven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7136362D-3182-4FCA-9153-A59170E5D17D}"/>
              </a:ext>
            </a:extLst>
          </p:cNvPr>
          <p:cNvGraphicFramePr>
            <a:graphicFrameLocks/>
          </p:cNvGraphicFramePr>
          <p:nvPr/>
        </p:nvGraphicFramePr>
        <p:xfrm>
          <a:off x="371475" y="1449388"/>
          <a:ext cx="11449050" cy="40608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771767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7B452F-DD05-4FDC-BDC7-16AB6F614D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Waakmand</a:t>
            </a:r>
            <a:endParaRPr lang="ru-RU" dirty="0"/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56A1BB94-BBE1-4961-BB3A-024A42A74E68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47" r="24547"/>
          <a:stretch>
            <a:fillRect/>
          </a:stretch>
        </p:blipFill>
        <p:spPr/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4B7DFED6-5881-4CD9-91AB-105AAA32216D}"/>
              </a:ext>
            </a:extLst>
          </p:cNvPr>
          <p:cNvSpPr txBox="1"/>
          <p:nvPr/>
        </p:nvSpPr>
        <p:spPr>
          <a:xfrm>
            <a:off x="371475" y="6209944"/>
            <a:ext cx="3571875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800" b="0" i="1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Foto: </a:t>
            </a:r>
            <a:r>
              <a:rPr kumimoji="0" lang="nl-NL" sz="800" b="0" i="1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  <a:hlinkClick r:id="rId3"/>
              </a:rPr>
              <a:t>palliatievezorg.nl</a:t>
            </a:r>
            <a:endParaRPr kumimoji="0" lang="nl-NL" sz="800" b="0" i="1" u="none" strike="noStrike" kern="1200" cap="none" spc="0" normalizeH="0" baseline="0" noProof="0" dirty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D45E249-2DDD-4E9A-80FF-91BB908925E8}"/>
              </a:ext>
            </a:extLst>
          </p:cNvPr>
          <p:cNvSpPr txBox="1"/>
          <p:nvPr/>
        </p:nvSpPr>
        <p:spPr>
          <a:xfrm>
            <a:off x="4841637" y="1762957"/>
            <a:ext cx="3041888" cy="276999"/>
          </a:xfrm>
          <a:prstGeom prst="rect">
            <a:avLst/>
          </a:prstGeom>
          <a:noFill/>
        </p:spPr>
        <p:txBody>
          <a:bodyPr wrap="square" lIns="180000" tIns="0" rIns="0" bIns="0" numCol="1" spcCol="360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Boeke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4EA2F7F-0479-4A12-9EBC-5C7CF2DC0BEC}"/>
              </a:ext>
            </a:extLst>
          </p:cNvPr>
          <p:cNvSpPr txBox="1"/>
          <p:nvPr/>
        </p:nvSpPr>
        <p:spPr>
          <a:xfrm>
            <a:off x="4841637" y="2519080"/>
            <a:ext cx="3714077" cy="276999"/>
          </a:xfrm>
          <a:prstGeom prst="rect">
            <a:avLst/>
          </a:prstGeom>
          <a:noFill/>
        </p:spPr>
        <p:txBody>
          <a:bodyPr wrap="square" lIns="180000" tIns="0" rIns="0" bIns="0" numCol="1" spcCol="360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Gedichtenbundel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AE42E98-5F08-4F23-ADC4-2F47EF74203C}"/>
              </a:ext>
            </a:extLst>
          </p:cNvPr>
          <p:cNvSpPr/>
          <p:nvPr/>
        </p:nvSpPr>
        <p:spPr>
          <a:xfrm>
            <a:off x="4305298" y="2391864"/>
            <a:ext cx="536340" cy="5363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7C224C01-26F0-4C1A-9EE3-1207A4B2EBDF}"/>
              </a:ext>
            </a:extLst>
          </p:cNvPr>
          <p:cNvSpPr/>
          <p:nvPr/>
        </p:nvSpPr>
        <p:spPr>
          <a:xfrm>
            <a:off x="4305298" y="1633287"/>
            <a:ext cx="536340" cy="5363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B003ADD-95B2-420A-AD8D-EF5FD6D7D263}"/>
              </a:ext>
            </a:extLst>
          </p:cNvPr>
          <p:cNvSpPr txBox="1"/>
          <p:nvPr/>
        </p:nvSpPr>
        <p:spPr>
          <a:xfrm>
            <a:off x="4841637" y="3279004"/>
            <a:ext cx="3041888" cy="276999"/>
          </a:xfrm>
          <a:prstGeom prst="rect">
            <a:avLst/>
          </a:prstGeom>
          <a:noFill/>
        </p:spPr>
        <p:txBody>
          <a:bodyPr wrap="square" lIns="180000" tIns="0" rIns="0" bIns="0" numCol="1" spcCol="360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Kussen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/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eken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B451650-83CB-4A02-B13A-8ECF7BEFFEB4}"/>
              </a:ext>
            </a:extLst>
          </p:cNvPr>
          <p:cNvSpPr txBox="1"/>
          <p:nvPr/>
        </p:nvSpPr>
        <p:spPr>
          <a:xfrm>
            <a:off x="4841637" y="4034230"/>
            <a:ext cx="3714077" cy="276999"/>
          </a:xfrm>
          <a:prstGeom prst="rect">
            <a:avLst/>
          </a:prstGeom>
          <a:noFill/>
        </p:spPr>
        <p:txBody>
          <a:bodyPr wrap="square" lIns="180000" tIns="0" rIns="0" bIns="0" numCol="1" spcCol="360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Zelfverzorging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14FFBFC9-556F-4F91-BB91-BE100615A391}"/>
              </a:ext>
            </a:extLst>
          </p:cNvPr>
          <p:cNvSpPr/>
          <p:nvPr/>
        </p:nvSpPr>
        <p:spPr>
          <a:xfrm>
            <a:off x="4305298" y="3909017"/>
            <a:ext cx="536340" cy="5363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553DE69-A8FC-4133-AB9F-8EABEB1273CA}"/>
              </a:ext>
            </a:extLst>
          </p:cNvPr>
          <p:cNvSpPr/>
          <p:nvPr/>
        </p:nvSpPr>
        <p:spPr>
          <a:xfrm>
            <a:off x="4305298" y="3150440"/>
            <a:ext cx="536340" cy="5363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4E2A7EF-90C6-44AA-B49E-DC693DA4AD4D}"/>
              </a:ext>
            </a:extLst>
          </p:cNvPr>
          <p:cNvSpPr txBox="1"/>
          <p:nvPr/>
        </p:nvSpPr>
        <p:spPr>
          <a:xfrm>
            <a:off x="4841637" y="4780142"/>
            <a:ext cx="3041888" cy="276999"/>
          </a:xfrm>
          <a:prstGeom prst="rect">
            <a:avLst/>
          </a:prstGeom>
          <a:noFill/>
        </p:spPr>
        <p:txBody>
          <a:bodyPr wrap="square" lIns="180000" tIns="0" rIns="0" bIns="0" numCol="1" spcCol="360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nacks</a:t>
            </a: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19A2FA6-1CAF-447B-821B-08E70B44ECE2}"/>
              </a:ext>
            </a:extLst>
          </p:cNvPr>
          <p:cNvSpPr txBox="1"/>
          <p:nvPr/>
        </p:nvSpPr>
        <p:spPr>
          <a:xfrm>
            <a:off x="4841637" y="5538719"/>
            <a:ext cx="3714077" cy="276999"/>
          </a:xfrm>
          <a:prstGeom prst="rect">
            <a:avLst/>
          </a:prstGeom>
          <a:noFill/>
        </p:spPr>
        <p:txBody>
          <a:bodyPr wrap="square" lIns="180000" tIns="0" rIns="0" bIns="0" numCol="1" spcCol="360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Kaarse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6C765566-3CBD-4B41-82AE-859F717D1802}"/>
              </a:ext>
            </a:extLst>
          </p:cNvPr>
          <p:cNvSpPr/>
          <p:nvPr/>
        </p:nvSpPr>
        <p:spPr>
          <a:xfrm>
            <a:off x="4305298" y="5409049"/>
            <a:ext cx="536340" cy="5363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48E01B46-D1DC-4DED-A70E-DAA5903EC6A9}"/>
              </a:ext>
            </a:extLst>
          </p:cNvPr>
          <p:cNvSpPr/>
          <p:nvPr/>
        </p:nvSpPr>
        <p:spPr>
          <a:xfrm>
            <a:off x="4305298" y="4650472"/>
            <a:ext cx="536340" cy="5363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8621AC91-73A9-412A-914E-4A819060774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420468" y="1778525"/>
            <a:ext cx="306000" cy="245861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53EA0A70-7B92-4C39-8610-0500219E709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20468" y="4037169"/>
            <a:ext cx="306000" cy="280036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E80BC049-908B-4D02-BC15-6883EBDBABB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486210" y="5524219"/>
            <a:ext cx="174516" cy="306000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9EC3E754-E4EC-4037-BF7B-C3A634230786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460266" y="4765642"/>
            <a:ext cx="226405" cy="306000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F50BFE7B-54D9-42BD-9A40-B5A0F2DC6D7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420468" y="2507034"/>
            <a:ext cx="306000" cy="306000"/>
          </a:xfrm>
          <a:prstGeom prst="rect">
            <a:avLst/>
          </a:prstGeom>
        </p:spPr>
      </p:pic>
      <p:pic>
        <p:nvPicPr>
          <p:cNvPr id="42" name="Graphic 41">
            <a:extLst>
              <a:ext uri="{FF2B5EF4-FFF2-40B4-BE49-F238E27FC236}">
                <a16:creationId xmlns:a16="http://schemas.microsoft.com/office/drawing/2014/main" id="{57C48F79-A16F-404C-AC13-38B040FA12F3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4420468" y="3274997"/>
            <a:ext cx="306000" cy="2872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752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195B1B-52CB-4560-A737-A2C6BA3B90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Koppelbed</a:t>
            </a:r>
            <a:endParaRPr lang="ru-RU" dirty="0"/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C811135F-F42D-4F4B-9690-58A407A3F0D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7" t="3216" b="-42"/>
          <a:stretch/>
        </p:blipFill>
        <p:spPr>
          <a:xfrm>
            <a:off x="371475" y="1449388"/>
            <a:ext cx="7512050" cy="4684712"/>
          </a:xfr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DF8B1240-4853-4ABC-9613-A2FC198372A5}"/>
              </a:ext>
            </a:extLst>
          </p:cNvPr>
          <p:cNvSpPr txBox="1"/>
          <p:nvPr/>
        </p:nvSpPr>
        <p:spPr>
          <a:xfrm>
            <a:off x="371475" y="6209944"/>
            <a:ext cx="3571875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800" b="0" i="1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Foto: </a:t>
            </a:r>
            <a:r>
              <a:rPr kumimoji="0" lang="nl-NL" sz="800" b="0" i="1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  <a:hlinkClick r:id="rId3"/>
              </a:rPr>
              <a:t>www.mmc.nl</a:t>
            </a:r>
            <a:endParaRPr kumimoji="0" lang="nl-NL" sz="800" b="0" i="1" u="none" strike="noStrike" kern="1200" cap="none" spc="0" normalizeH="0" baseline="0" noProof="0" dirty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8DCA338-9888-4CEB-96D5-ACB5FB95E2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2215" y="2076508"/>
            <a:ext cx="1944760" cy="135249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52015504-978C-4420-8EBF-DB22B9E5F59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2215" y="1449388"/>
            <a:ext cx="3352800" cy="381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857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253591-3A92-40E2-8C97-F79D102C3B2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529AA4C-38A5-4AD8-BEFB-95ABD13D1B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9600" y="-1130"/>
            <a:ext cx="9601301" cy="67876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211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FEE8F33-FA50-4B67-B70E-07FB93B382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altLang="nl-NL" dirty="0"/>
              <a:t>Palliatieve zorg</a:t>
            </a:r>
            <a:endParaRPr lang="ru-RU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FFDF0E-D21B-4D24-AA83-DB229FE7AA3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/>
              <a:t>12</a:t>
            </a:r>
            <a:endParaRPr lang="ru-RU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2F38B9A-322A-4DD4-A622-112C2E80DE43}"/>
              </a:ext>
            </a:extLst>
          </p:cNvPr>
          <p:cNvSpPr txBox="1"/>
          <p:nvPr/>
        </p:nvSpPr>
        <p:spPr>
          <a:xfrm>
            <a:off x="371474" y="2419609"/>
            <a:ext cx="3571876" cy="3693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Regular "/>
                <a:ea typeface="+mn-ea"/>
                <a:cs typeface="+mn-cs"/>
              </a:rPr>
              <a:t>Nog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Regular 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Regular "/>
                <a:ea typeface="+mn-ea"/>
                <a:cs typeface="+mn-cs"/>
              </a:rPr>
              <a:t>vee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Regular 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Regular "/>
                <a:ea typeface="+mn-ea"/>
                <a:cs typeface="+mn-cs"/>
              </a:rPr>
              <a:t>uitdagingen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Regular "/>
              <a:ea typeface="+mn-ea"/>
              <a:cs typeface="+mn-cs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CD53828C-E172-4685-9AEC-4AF9386E7BC5}"/>
              </a:ext>
            </a:extLst>
          </p:cNvPr>
          <p:cNvSpPr/>
          <p:nvPr/>
        </p:nvSpPr>
        <p:spPr>
          <a:xfrm>
            <a:off x="345534" y="1449388"/>
            <a:ext cx="802329" cy="802329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2C6D7FC1-8D42-476A-8403-0DDF24A7FFFE}"/>
              </a:ext>
            </a:extLst>
          </p:cNvPr>
          <p:cNvSpPr/>
          <p:nvPr/>
        </p:nvSpPr>
        <p:spPr>
          <a:xfrm>
            <a:off x="4285709" y="1449388"/>
            <a:ext cx="802329" cy="802329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278EA09-D3AA-438D-8D68-BEE20E23E274}"/>
              </a:ext>
            </a:extLst>
          </p:cNvPr>
          <p:cNvSpPr/>
          <p:nvPr/>
        </p:nvSpPr>
        <p:spPr>
          <a:xfrm>
            <a:off x="8219535" y="1449388"/>
            <a:ext cx="802329" cy="802329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A1F0B25-1BE4-4115-9423-78F4C5BD252B}"/>
              </a:ext>
            </a:extLst>
          </p:cNvPr>
          <p:cNvSpPr txBox="1"/>
          <p:nvPr/>
        </p:nvSpPr>
        <p:spPr>
          <a:xfrm>
            <a:off x="4311649" y="2419609"/>
            <a:ext cx="3571876" cy="3693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Regular "/>
                <a:ea typeface="+mn-ea"/>
                <a:cs typeface="+mn-cs"/>
              </a:rPr>
              <a:t>Maatschappelijk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Regular 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Regular "/>
                <a:ea typeface="+mn-ea"/>
                <a:cs typeface="+mn-cs"/>
              </a:rPr>
              <a:t>relevanti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Regular 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AE1247D-E4B8-4414-A15F-DA199044C474}"/>
              </a:ext>
            </a:extLst>
          </p:cNvPr>
          <p:cNvSpPr txBox="1"/>
          <p:nvPr/>
        </p:nvSpPr>
        <p:spPr>
          <a:xfrm>
            <a:off x="8251824" y="2419609"/>
            <a:ext cx="3571876" cy="3693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Regular "/>
                <a:ea typeface="+mn-ea"/>
                <a:cs typeface="+mn-cs"/>
              </a:rPr>
              <a:t>Ethiek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Regular 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FCB7D28-11C6-476A-9819-27F5777A99E3}"/>
              </a:ext>
            </a:extLst>
          </p:cNvPr>
          <p:cNvSpPr txBox="1"/>
          <p:nvPr/>
        </p:nvSpPr>
        <p:spPr>
          <a:xfrm>
            <a:off x="371474" y="4557660"/>
            <a:ext cx="3571876" cy="3693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Regular "/>
                <a:ea typeface="+mn-ea"/>
                <a:cs typeface="+mn-cs"/>
              </a:rPr>
              <a:t>Empathi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Regular "/>
                <a:ea typeface="+mn-ea"/>
                <a:cs typeface="+mn-cs"/>
              </a:rPr>
              <a:t> /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Regular "/>
                <a:ea typeface="+mn-ea"/>
                <a:cs typeface="+mn-cs"/>
              </a:rPr>
              <a:t>compassi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Regular "/>
              <a:ea typeface="+mn-ea"/>
              <a:cs typeface="+mn-cs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745F11AF-8AAC-4707-8AFB-6FAD80E34337}"/>
              </a:ext>
            </a:extLst>
          </p:cNvPr>
          <p:cNvSpPr/>
          <p:nvPr/>
        </p:nvSpPr>
        <p:spPr>
          <a:xfrm>
            <a:off x="345534" y="3587439"/>
            <a:ext cx="802329" cy="802329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6A1962A5-D29B-4E6C-AE9D-459EF0359A29}"/>
              </a:ext>
            </a:extLst>
          </p:cNvPr>
          <p:cNvSpPr/>
          <p:nvPr/>
        </p:nvSpPr>
        <p:spPr>
          <a:xfrm>
            <a:off x="4285709" y="3587439"/>
            <a:ext cx="802329" cy="802329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085522F-E969-4E06-92AB-4D3C1BD27AE8}"/>
              </a:ext>
            </a:extLst>
          </p:cNvPr>
          <p:cNvSpPr/>
          <p:nvPr/>
        </p:nvSpPr>
        <p:spPr>
          <a:xfrm>
            <a:off x="8219535" y="3587439"/>
            <a:ext cx="802329" cy="802329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3ABC400-F601-4382-A0CD-445914F629BA}"/>
              </a:ext>
            </a:extLst>
          </p:cNvPr>
          <p:cNvSpPr txBox="1"/>
          <p:nvPr/>
        </p:nvSpPr>
        <p:spPr>
          <a:xfrm>
            <a:off x="4311649" y="4557660"/>
            <a:ext cx="3571876" cy="369332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Regular "/>
                <a:ea typeface="+mn-ea"/>
                <a:cs typeface="+mn-cs"/>
              </a:rPr>
              <a:t>Positi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Regular 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Regular "/>
                <a:ea typeface="+mn-ea"/>
                <a:cs typeface="+mn-cs"/>
              </a:rPr>
              <a:t>zorgverlener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 Regular 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2544876-A7B7-4D40-A9E7-CEAF063BA638}"/>
              </a:ext>
            </a:extLst>
          </p:cNvPr>
          <p:cNvSpPr txBox="1"/>
          <p:nvPr/>
        </p:nvSpPr>
        <p:spPr>
          <a:xfrm>
            <a:off x="8251824" y="4557660"/>
            <a:ext cx="3571876" cy="646331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 Regular "/>
                <a:ea typeface="+mn-ea"/>
                <a:cs typeface="+mn-cs"/>
              </a:rPr>
              <a:t>Zorg voor de zorgverlener / vrijwilliger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D4341393-1016-49E3-B97F-643F051853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30698" y="1635982"/>
            <a:ext cx="432000" cy="429139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D6BB2CEB-863D-441C-B20F-835D9760188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70873" y="1674036"/>
            <a:ext cx="432000" cy="353032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055BDBB0-7B16-4393-929B-C5C315571CB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489312" y="3772603"/>
            <a:ext cx="395122" cy="4320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BC611705-A4AC-44EA-B0D4-DFFB69FC474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8404699" y="1649280"/>
            <a:ext cx="432000" cy="402545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4F24D959-4A52-4C96-B2C3-4B0C090CB49E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472199" y="3772603"/>
            <a:ext cx="297000" cy="432000"/>
          </a:xfrm>
          <a:prstGeom prst="rect">
            <a:avLst/>
          </a:prstGeom>
        </p:spPr>
      </p:pic>
      <p:pic>
        <p:nvPicPr>
          <p:cNvPr id="34" name="Graphic 33">
            <a:extLst>
              <a:ext uri="{FF2B5EF4-FFF2-40B4-BE49-F238E27FC236}">
                <a16:creationId xmlns:a16="http://schemas.microsoft.com/office/drawing/2014/main" id="{D2CE0860-3742-454F-9A47-8C42397B7091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30698" y="3776784"/>
            <a:ext cx="432000" cy="423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8347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6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1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2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5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6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8" fill="hold">
                      <p:stCondLst>
                        <p:cond delay="indefinite"/>
                      </p:stCondLst>
                      <p:childTnLst>
                        <p:par>
                          <p:cTn id="89" fill="hold">
                            <p:stCondLst>
                              <p:cond delay="0"/>
                            </p:stCondLst>
                            <p:childTnLst>
                              <p:par>
                                <p:cTn id="90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2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3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4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animBg="1"/>
      <p:bldP spid="7" grpId="0" animBg="1"/>
      <p:bldP spid="8" grpId="0" animBg="1"/>
      <p:bldP spid="9" grpId="0"/>
      <p:bldP spid="10" grpId="0"/>
      <p:bldP spid="13" grpId="0"/>
      <p:bldP spid="15" grpId="0" animBg="1"/>
      <p:bldP spid="17" grpId="0" animBg="1"/>
      <p:bldP spid="19" grpId="0" animBg="1"/>
      <p:bldP spid="20" grpId="0"/>
      <p:bldP spid="21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C052D76-A9D5-4ECC-87D2-BEA1B347E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sz="4400" dirty="0"/>
              <a:t>Palliatieve sedatie</a:t>
            </a:r>
          </a:p>
        </p:txBody>
      </p:sp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A3D949A4-072A-4DCC-A047-90B73E89B15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44" b="17754"/>
          <a:stretch/>
        </p:blipFill>
        <p:spPr>
          <a:xfrm>
            <a:off x="4276080" y="-7619"/>
            <a:ext cx="7915920" cy="4348798"/>
          </a:xfrm>
        </p:spPr>
      </p:pic>
      <p:grpSp>
        <p:nvGrpSpPr>
          <p:cNvPr id="5" name="Group 4">
            <a:extLst>
              <a:ext uri="{FF2B5EF4-FFF2-40B4-BE49-F238E27FC236}">
                <a16:creationId xmlns:a16="http://schemas.microsoft.com/office/drawing/2014/main" id="{FAF896EF-BBF3-4ABC-9BB2-EC357CD576D2}"/>
              </a:ext>
            </a:extLst>
          </p:cNvPr>
          <p:cNvGrpSpPr/>
          <p:nvPr/>
        </p:nvGrpSpPr>
        <p:grpSpPr>
          <a:xfrm>
            <a:off x="371474" y="5056894"/>
            <a:ext cx="945003" cy="307777"/>
            <a:chOff x="371474" y="4979072"/>
            <a:chExt cx="945003" cy="307777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9D6B075D-5B28-40D3-8077-2866CE9706D9}"/>
                </a:ext>
              </a:extLst>
            </p:cNvPr>
            <p:cNvSpPr/>
            <p:nvPr/>
          </p:nvSpPr>
          <p:spPr>
            <a:xfrm>
              <a:off x="371474" y="4979072"/>
              <a:ext cx="945003" cy="307777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4F92EE82-EE97-4823-B8D4-AD7B9C44D66E}"/>
                </a:ext>
              </a:extLst>
            </p:cNvPr>
            <p:cNvSpPr txBox="1"/>
            <p:nvPr/>
          </p:nvSpPr>
          <p:spPr>
            <a:xfrm>
              <a:off x="371474" y="4979072"/>
              <a:ext cx="94500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1" u="none" strike="noStrike" kern="1200" cap="none" spc="0" normalizeH="0" baseline="0" noProof="0" dirty="0" err="1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Deel</a:t>
              </a:r>
              <a:r>
                <a:rPr kumimoji="0" lang="en-US" sz="1400" b="1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 1</a:t>
              </a:r>
              <a:endParaRPr kumimoji="0" lang="ru-RU" sz="14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17837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282667-71EF-420E-B148-627AFD071C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ru-RU" dirty="0"/>
          </a:p>
        </p:txBody>
      </p:sp>
      <p:sp>
        <p:nvSpPr>
          <p:cNvPr id="3" name="Rectangle 2">
            <a:hlinkClick r:id="" action="ppaction://noaction"/>
            <a:extLst>
              <a:ext uri="{FF2B5EF4-FFF2-40B4-BE49-F238E27FC236}">
                <a16:creationId xmlns:a16="http://schemas.microsoft.com/office/drawing/2014/main" id="{979A8A35-829A-4AB5-BAB3-64D778E6C91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35085" y="1449388"/>
            <a:ext cx="1668727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Achtergrond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</a:p>
        </p:txBody>
      </p:sp>
      <p:sp>
        <p:nvSpPr>
          <p:cNvPr id="4" name="Rectangle 3">
            <a:hlinkClick r:id="rId22" action="ppaction://hlinksldjump"/>
            <a:extLst>
              <a:ext uri="{FF2B5EF4-FFF2-40B4-BE49-F238E27FC236}">
                <a16:creationId xmlns:a16="http://schemas.microsoft.com/office/drawing/2014/main" id="{4ED52BB0-8BEB-473E-9AE4-6B18D951B04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71475" y="1449388"/>
            <a:ext cx="400110" cy="40011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1</a:t>
            </a:r>
          </a:p>
        </p:txBody>
      </p:sp>
      <p:sp>
        <p:nvSpPr>
          <p:cNvPr id="5" name="Rectangle 4">
            <a:hlinkClick r:id="" action="ppaction://noaction"/>
            <a:extLst>
              <a:ext uri="{FF2B5EF4-FFF2-40B4-BE49-F238E27FC236}">
                <a16:creationId xmlns:a16="http://schemas.microsoft.com/office/drawing/2014/main" id="{CB257035-02EF-4D0A-B788-C9157438BF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35086" y="2373271"/>
            <a:ext cx="18441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efinitie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</a:p>
        </p:txBody>
      </p:sp>
      <p:sp>
        <p:nvSpPr>
          <p:cNvPr id="6" name="Rectangle 5">
            <a:hlinkClick r:id="" action="ppaction://noaction"/>
            <a:extLst>
              <a:ext uri="{FF2B5EF4-FFF2-40B4-BE49-F238E27FC236}">
                <a16:creationId xmlns:a16="http://schemas.microsoft.com/office/drawing/2014/main" id="{3AEE79DE-3F80-49AC-8AFF-9ED659D34CA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71475" y="2373271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1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.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9" name="Rectangle 8">
            <a:hlinkClick r:id="" action="ppaction://noaction"/>
            <a:extLst>
              <a:ext uri="{FF2B5EF4-FFF2-40B4-BE49-F238E27FC236}">
                <a16:creationId xmlns:a16="http://schemas.microsoft.com/office/drawing/2014/main" id="{6CA52C68-00B6-45AE-A419-C2A55143489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35086" y="1908486"/>
            <a:ext cx="18441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Cijfer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 </a:t>
            </a:r>
          </a:p>
        </p:txBody>
      </p:sp>
      <p:sp>
        <p:nvSpPr>
          <p:cNvPr id="10" name="Rectangle 9">
            <a:hlinkClick r:id="rId23" action="ppaction://hlinksldjump"/>
            <a:extLst>
              <a:ext uri="{FF2B5EF4-FFF2-40B4-BE49-F238E27FC236}">
                <a16:creationId xmlns:a16="http://schemas.microsoft.com/office/drawing/2014/main" id="{398CFDB7-1949-4132-B80E-E45F52890F8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71475" y="190848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1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.1</a:t>
            </a:r>
          </a:p>
        </p:txBody>
      </p:sp>
      <p:sp>
        <p:nvSpPr>
          <p:cNvPr id="17" name="Rectangle 16">
            <a:hlinkClick r:id="" action="ppaction://noaction"/>
            <a:extLst>
              <a:ext uri="{FF2B5EF4-FFF2-40B4-BE49-F238E27FC236}">
                <a16:creationId xmlns:a16="http://schemas.microsoft.com/office/drawing/2014/main" id="{167497C3-3705-40B3-A8AD-6E57DAEF924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35085" y="5727255"/>
            <a:ext cx="1668727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Cases </a:t>
            </a:r>
          </a:p>
        </p:txBody>
      </p:sp>
      <p:sp>
        <p:nvSpPr>
          <p:cNvPr id="18" name="Rectangle 17">
            <a:hlinkClick r:id="rId22" action="ppaction://hlinksldjump"/>
            <a:extLst>
              <a:ext uri="{FF2B5EF4-FFF2-40B4-BE49-F238E27FC236}">
                <a16:creationId xmlns:a16="http://schemas.microsoft.com/office/drawing/2014/main" id="{6689A4FF-AEB1-4171-9D2A-1F9C48EEB63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371475" y="5727255"/>
            <a:ext cx="400110" cy="40011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3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4" name="Rectangle 23">
            <a:hlinkClick r:id="" action="ppaction://noaction"/>
            <a:extLst>
              <a:ext uri="{FF2B5EF4-FFF2-40B4-BE49-F238E27FC236}">
                <a16:creationId xmlns:a16="http://schemas.microsoft.com/office/drawing/2014/main" id="{2C079603-C4D3-432F-B3C8-94B8B012CA5D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4768910" y="1449388"/>
            <a:ext cx="254629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Ervaring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naasten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5" name="Rectangle 24">
            <a:hlinkClick r:id="rId22" action="ppaction://hlinksldjump"/>
            <a:extLst>
              <a:ext uri="{FF2B5EF4-FFF2-40B4-BE49-F238E27FC236}">
                <a16:creationId xmlns:a16="http://schemas.microsoft.com/office/drawing/2014/main" id="{BD58595F-8794-4864-9789-8FD7E5C1705C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4305300" y="1449388"/>
            <a:ext cx="400110" cy="40011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4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33" name="Rectangle 32">
            <a:hlinkClick r:id="" action="ppaction://noaction"/>
            <a:extLst>
              <a:ext uri="{FF2B5EF4-FFF2-40B4-BE49-F238E27FC236}">
                <a16:creationId xmlns:a16="http://schemas.microsoft.com/office/drawing/2014/main" id="{8AA14071-21A1-4EE7-B1FC-32DBEA8EED51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4768910" y="3359102"/>
            <a:ext cx="1668727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Kernpunte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</a:p>
        </p:txBody>
      </p:sp>
      <p:sp>
        <p:nvSpPr>
          <p:cNvPr id="34" name="Rectangle 33">
            <a:hlinkClick r:id="rId22" action="ppaction://hlinksldjump"/>
            <a:extLst>
              <a:ext uri="{FF2B5EF4-FFF2-40B4-BE49-F238E27FC236}">
                <a16:creationId xmlns:a16="http://schemas.microsoft.com/office/drawing/2014/main" id="{1E50C2C1-C14F-485C-82D8-2AD918EA411C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4305300" y="3359102"/>
            <a:ext cx="400110" cy="40011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5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6AFD964-B76C-4E7E-BEB2-BE8FCF0FBDD0}"/>
              </a:ext>
            </a:extLst>
          </p:cNvPr>
          <p:cNvGrpSpPr/>
          <p:nvPr/>
        </p:nvGrpSpPr>
        <p:grpSpPr>
          <a:xfrm>
            <a:off x="368300" y="3353518"/>
            <a:ext cx="2850993" cy="1793600"/>
            <a:chOff x="368300" y="3214903"/>
            <a:chExt cx="2850993" cy="1793600"/>
          </a:xfrm>
        </p:grpSpPr>
        <p:sp>
          <p:nvSpPr>
            <p:cNvPr id="11" name="Rectangle 10">
              <a:hlinkClick r:id="" action="ppaction://noaction"/>
              <a:extLst>
                <a:ext uri="{FF2B5EF4-FFF2-40B4-BE49-F238E27FC236}">
                  <a16:creationId xmlns:a16="http://schemas.microsoft.com/office/drawing/2014/main" id="{15A86733-AF1B-4111-A893-E4DB13ED9222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>
            <a:xfrm>
              <a:off x="835085" y="3214903"/>
              <a:ext cx="2384208" cy="40011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Vormen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 &amp; </a:t>
              </a:r>
              <a:r>
                <a:rPr kumimoji="0" lang="en-US" sz="1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uitvoering</a:t>
              </a: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12" name="Rectangle 11">
              <a:hlinkClick r:id="rId22" action="ppaction://hlinksldjump"/>
              <a:extLst>
                <a:ext uri="{FF2B5EF4-FFF2-40B4-BE49-F238E27FC236}">
                  <a16:creationId xmlns:a16="http://schemas.microsoft.com/office/drawing/2014/main" id="{DB65AB04-D376-4E44-AEEF-9BE89CFD1849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>
            <a:xfrm>
              <a:off x="371475" y="3214903"/>
              <a:ext cx="400110" cy="400110"/>
            </a:xfrm>
            <a:prstGeom prst="rect">
              <a:avLst/>
            </a:prstGeom>
            <a:solidFill>
              <a:schemeClr val="accent2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2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13" name="Rectangle 12">
              <a:hlinkClick r:id="" action="ppaction://noaction"/>
              <a:extLst>
                <a:ext uri="{FF2B5EF4-FFF2-40B4-BE49-F238E27FC236}">
                  <a16:creationId xmlns:a16="http://schemas.microsoft.com/office/drawing/2014/main" id="{7F1D4EC3-7269-4D44-BFAF-91762276B2A7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>
            <a:xfrm>
              <a:off x="831910" y="4138786"/>
              <a:ext cx="2067651" cy="40011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Intermitterend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14" name="Rectangle 13">
              <a:hlinkClick r:id="" action="ppaction://noaction"/>
              <a:extLst>
                <a:ext uri="{FF2B5EF4-FFF2-40B4-BE49-F238E27FC236}">
                  <a16:creationId xmlns:a16="http://schemas.microsoft.com/office/drawing/2014/main" id="{0C4A67A7-8E45-4BAC-B060-C39EB4697874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>
            <a:xfrm>
              <a:off x="368300" y="4138786"/>
              <a:ext cx="400110" cy="400110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2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.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2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15" name="Rectangle 14">
              <a:hlinkClick r:id="" action="ppaction://noaction"/>
              <a:extLst>
                <a:ext uri="{FF2B5EF4-FFF2-40B4-BE49-F238E27FC236}">
                  <a16:creationId xmlns:a16="http://schemas.microsoft.com/office/drawing/2014/main" id="{40603682-3075-44D3-AAEF-2A0F27316280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>
            <a:xfrm>
              <a:off x="831911" y="3674001"/>
              <a:ext cx="1844132" cy="40011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Continu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 </a:t>
              </a:r>
            </a:p>
          </p:txBody>
        </p:sp>
        <p:sp>
          <p:nvSpPr>
            <p:cNvPr id="16" name="Rectangle 15">
              <a:hlinkClick r:id="rId23" action="ppaction://hlinksldjump"/>
              <a:extLst>
                <a:ext uri="{FF2B5EF4-FFF2-40B4-BE49-F238E27FC236}">
                  <a16:creationId xmlns:a16="http://schemas.microsoft.com/office/drawing/2014/main" id="{87F5DF6E-66E1-4E76-853D-E8EE2EB56DA0}"/>
                </a:ext>
              </a:extLst>
            </p:cNvPr>
            <p:cNvSpPr/>
            <p:nvPr>
              <p:custDataLst>
                <p:tags r:id="rId18"/>
              </p:custDataLst>
            </p:nvPr>
          </p:nvSpPr>
          <p:spPr>
            <a:xfrm>
              <a:off x="368300" y="3674001"/>
              <a:ext cx="400110" cy="400110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2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.1</a:t>
              </a:r>
            </a:p>
          </p:txBody>
        </p:sp>
        <p:sp>
          <p:nvSpPr>
            <p:cNvPr id="47" name="Rectangle 46">
              <a:hlinkClick r:id="" action="ppaction://noaction"/>
              <a:extLst>
                <a:ext uri="{FF2B5EF4-FFF2-40B4-BE49-F238E27FC236}">
                  <a16:creationId xmlns:a16="http://schemas.microsoft.com/office/drawing/2014/main" id="{EC64A62F-6BC2-43AD-924A-DC6AF3A1C68D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>
            <a:xfrm>
              <a:off x="831910" y="4608393"/>
              <a:ext cx="2067651" cy="400110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Acuut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  </a:t>
              </a:r>
            </a:p>
          </p:txBody>
        </p:sp>
        <p:sp>
          <p:nvSpPr>
            <p:cNvPr id="48" name="Rectangle 47">
              <a:hlinkClick r:id="" action="ppaction://noaction"/>
              <a:extLst>
                <a:ext uri="{FF2B5EF4-FFF2-40B4-BE49-F238E27FC236}">
                  <a16:creationId xmlns:a16="http://schemas.microsoft.com/office/drawing/2014/main" id="{64A5D01F-26AC-43E7-AB7A-54DC202B7751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>
            <a:xfrm>
              <a:off x="368300" y="4608393"/>
              <a:ext cx="400110" cy="400110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2</a:t>
              </a:r>
              <a:r>
                <a:rPr kumimoji="0" lang="ru-RU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.</a:t>
              </a: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3</a:t>
              </a:r>
              <a:endPara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0326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282667-71EF-420E-B148-627AFD071C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ru-RU" dirty="0"/>
          </a:p>
        </p:txBody>
      </p:sp>
      <p:sp>
        <p:nvSpPr>
          <p:cNvPr id="3" name="Rectangle 2">
            <a:hlinkClick r:id="" action="ppaction://noaction"/>
            <a:extLst>
              <a:ext uri="{FF2B5EF4-FFF2-40B4-BE49-F238E27FC236}">
                <a16:creationId xmlns:a16="http://schemas.microsoft.com/office/drawing/2014/main" id="{979A8A35-829A-4AB5-BAB3-64D778E6C91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35085" y="1449388"/>
            <a:ext cx="1668727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Achtergrond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</a:p>
        </p:txBody>
      </p:sp>
      <p:sp>
        <p:nvSpPr>
          <p:cNvPr id="4" name="Rectangle 3">
            <a:hlinkClick r:id="rId22" action="ppaction://hlinksldjump"/>
            <a:extLst>
              <a:ext uri="{FF2B5EF4-FFF2-40B4-BE49-F238E27FC236}">
                <a16:creationId xmlns:a16="http://schemas.microsoft.com/office/drawing/2014/main" id="{4ED52BB0-8BEB-473E-9AE4-6B18D951B04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71475" y="1449388"/>
            <a:ext cx="400110" cy="40011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1</a:t>
            </a:r>
          </a:p>
        </p:txBody>
      </p:sp>
      <p:sp>
        <p:nvSpPr>
          <p:cNvPr id="5" name="Rectangle 4">
            <a:hlinkClick r:id="" action="ppaction://noaction"/>
            <a:extLst>
              <a:ext uri="{FF2B5EF4-FFF2-40B4-BE49-F238E27FC236}">
                <a16:creationId xmlns:a16="http://schemas.microsoft.com/office/drawing/2014/main" id="{CB257035-02EF-4D0A-B788-C9157438BF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35086" y="2373271"/>
            <a:ext cx="18441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efinitie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</a:p>
        </p:txBody>
      </p:sp>
      <p:sp>
        <p:nvSpPr>
          <p:cNvPr id="6" name="Rectangle 5">
            <a:hlinkClick r:id="" action="ppaction://noaction"/>
            <a:extLst>
              <a:ext uri="{FF2B5EF4-FFF2-40B4-BE49-F238E27FC236}">
                <a16:creationId xmlns:a16="http://schemas.microsoft.com/office/drawing/2014/main" id="{3AEE79DE-3F80-49AC-8AFF-9ED659D34CA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71475" y="2373271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1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.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9" name="Rectangle 8">
            <a:hlinkClick r:id="" action="ppaction://noaction"/>
            <a:extLst>
              <a:ext uri="{FF2B5EF4-FFF2-40B4-BE49-F238E27FC236}">
                <a16:creationId xmlns:a16="http://schemas.microsoft.com/office/drawing/2014/main" id="{6CA52C68-00B6-45AE-A419-C2A55143489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35086" y="1908486"/>
            <a:ext cx="18441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Cijfer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 </a:t>
            </a:r>
          </a:p>
        </p:txBody>
      </p:sp>
      <p:sp>
        <p:nvSpPr>
          <p:cNvPr id="10" name="Rectangle 9">
            <a:hlinkClick r:id="rId23" action="ppaction://hlinksldjump"/>
            <a:extLst>
              <a:ext uri="{FF2B5EF4-FFF2-40B4-BE49-F238E27FC236}">
                <a16:creationId xmlns:a16="http://schemas.microsoft.com/office/drawing/2014/main" id="{398CFDB7-1949-4132-B80E-E45F52890F8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71475" y="190848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1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.1</a:t>
            </a:r>
          </a:p>
        </p:txBody>
      </p:sp>
      <p:sp>
        <p:nvSpPr>
          <p:cNvPr id="17" name="Rectangle 16">
            <a:hlinkClick r:id="" action="ppaction://noaction"/>
            <a:extLst>
              <a:ext uri="{FF2B5EF4-FFF2-40B4-BE49-F238E27FC236}">
                <a16:creationId xmlns:a16="http://schemas.microsoft.com/office/drawing/2014/main" id="{167497C3-3705-40B3-A8AD-6E57DAEF924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35085" y="5727255"/>
            <a:ext cx="1668727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Cases </a:t>
            </a:r>
          </a:p>
        </p:txBody>
      </p:sp>
      <p:sp>
        <p:nvSpPr>
          <p:cNvPr id="18" name="Rectangle 17">
            <a:hlinkClick r:id="rId22" action="ppaction://hlinksldjump"/>
            <a:extLst>
              <a:ext uri="{FF2B5EF4-FFF2-40B4-BE49-F238E27FC236}">
                <a16:creationId xmlns:a16="http://schemas.microsoft.com/office/drawing/2014/main" id="{6689A4FF-AEB1-4171-9D2A-1F9C48EEB63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371475" y="5727255"/>
            <a:ext cx="400110" cy="40011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3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4" name="Rectangle 23">
            <a:hlinkClick r:id="" action="ppaction://noaction"/>
            <a:extLst>
              <a:ext uri="{FF2B5EF4-FFF2-40B4-BE49-F238E27FC236}">
                <a16:creationId xmlns:a16="http://schemas.microsoft.com/office/drawing/2014/main" id="{2C079603-C4D3-432F-B3C8-94B8B012CA5D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4768910" y="1449388"/>
            <a:ext cx="254629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Ervaring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naasten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5" name="Rectangle 24">
            <a:hlinkClick r:id="rId22" action="ppaction://hlinksldjump"/>
            <a:extLst>
              <a:ext uri="{FF2B5EF4-FFF2-40B4-BE49-F238E27FC236}">
                <a16:creationId xmlns:a16="http://schemas.microsoft.com/office/drawing/2014/main" id="{BD58595F-8794-4864-9789-8FD7E5C1705C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4305300" y="1449388"/>
            <a:ext cx="400110" cy="40011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4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33" name="Rectangle 32">
            <a:hlinkClick r:id="" action="ppaction://noaction"/>
            <a:extLst>
              <a:ext uri="{FF2B5EF4-FFF2-40B4-BE49-F238E27FC236}">
                <a16:creationId xmlns:a16="http://schemas.microsoft.com/office/drawing/2014/main" id="{8AA14071-21A1-4EE7-B1FC-32DBEA8EED51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4768910" y="3359102"/>
            <a:ext cx="1668727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Kernpunte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</a:p>
        </p:txBody>
      </p:sp>
      <p:sp>
        <p:nvSpPr>
          <p:cNvPr id="34" name="Rectangle 33">
            <a:hlinkClick r:id="rId22" action="ppaction://hlinksldjump"/>
            <a:extLst>
              <a:ext uri="{FF2B5EF4-FFF2-40B4-BE49-F238E27FC236}">
                <a16:creationId xmlns:a16="http://schemas.microsoft.com/office/drawing/2014/main" id="{1E50C2C1-C14F-485C-82D8-2AD918EA411C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4305300" y="3359102"/>
            <a:ext cx="400110" cy="40011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5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1" name="Rectangle 10">
            <a:hlinkClick r:id="" action="ppaction://noaction"/>
            <a:extLst>
              <a:ext uri="{FF2B5EF4-FFF2-40B4-BE49-F238E27FC236}">
                <a16:creationId xmlns:a16="http://schemas.microsoft.com/office/drawing/2014/main" id="{15A86733-AF1B-4111-A893-E4DB13ED9222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35085" y="3353518"/>
            <a:ext cx="238420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Vorme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&amp;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uitvoering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</a:p>
        </p:txBody>
      </p:sp>
      <p:sp>
        <p:nvSpPr>
          <p:cNvPr id="12" name="Rectangle 11">
            <a:hlinkClick r:id="rId22" action="ppaction://hlinksldjump"/>
            <a:extLst>
              <a:ext uri="{FF2B5EF4-FFF2-40B4-BE49-F238E27FC236}">
                <a16:creationId xmlns:a16="http://schemas.microsoft.com/office/drawing/2014/main" id="{DB65AB04-D376-4E44-AEEF-9BE89CFD1849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371475" y="3353518"/>
            <a:ext cx="400110" cy="40011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3" name="Rectangle 12">
            <a:hlinkClick r:id="" action="ppaction://noaction"/>
            <a:extLst>
              <a:ext uri="{FF2B5EF4-FFF2-40B4-BE49-F238E27FC236}">
                <a16:creationId xmlns:a16="http://schemas.microsoft.com/office/drawing/2014/main" id="{7F1D4EC3-7269-4D44-BFAF-91762276B2A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31910" y="4277401"/>
            <a:ext cx="2067651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ntermitterend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</a:p>
        </p:txBody>
      </p:sp>
      <p:sp>
        <p:nvSpPr>
          <p:cNvPr id="14" name="Rectangle 13">
            <a:hlinkClick r:id="" action="ppaction://noaction"/>
            <a:extLst>
              <a:ext uri="{FF2B5EF4-FFF2-40B4-BE49-F238E27FC236}">
                <a16:creationId xmlns:a16="http://schemas.microsoft.com/office/drawing/2014/main" id="{0C4A67A7-8E45-4BAC-B060-C39EB4697874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368300" y="4277401"/>
            <a:ext cx="400110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.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5" name="Rectangle 14">
            <a:hlinkClick r:id="" action="ppaction://noaction"/>
            <a:extLst>
              <a:ext uri="{FF2B5EF4-FFF2-40B4-BE49-F238E27FC236}">
                <a16:creationId xmlns:a16="http://schemas.microsoft.com/office/drawing/2014/main" id="{40603682-3075-44D3-AAEF-2A0F27316280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831911" y="3812616"/>
            <a:ext cx="18441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Contin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</a:p>
        </p:txBody>
      </p:sp>
      <p:sp>
        <p:nvSpPr>
          <p:cNvPr id="16" name="Rectangle 15">
            <a:hlinkClick r:id="rId23" action="ppaction://hlinksldjump"/>
            <a:extLst>
              <a:ext uri="{FF2B5EF4-FFF2-40B4-BE49-F238E27FC236}">
                <a16:creationId xmlns:a16="http://schemas.microsoft.com/office/drawing/2014/main" id="{87F5DF6E-66E1-4E76-853D-E8EE2EB56DA0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368300" y="3812616"/>
            <a:ext cx="400110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.1</a:t>
            </a:r>
          </a:p>
        </p:txBody>
      </p:sp>
      <p:sp>
        <p:nvSpPr>
          <p:cNvPr id="47" name="Rectangle 46">
            <a:hlinkClick r:id="" action="ppaction://noaction"/>
            <a:extLst>
              <a:ext uri="{FF2B5EF4-FFF2-40B4-BE49-F238E27FC236}">
                <a16:creationId xmlns:a16="http://schemas.microsoft.com/office/drawing/2014/main" id="{EC64A62F-6BC2-43AD-924A-DC6AF3A1C68D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831910" y="4747008"/>
            <a:ext cx="2067651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Acuu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 </a:t>
            </a:r>
          </a:p>
        </p:txBody>
      </p:sp>
      <p:sp>
        <p:nvSpPr>
          <p:cNvPr id="48" name="Rectangle 47">
            <a:hlinkClick r:id="" action="ppaction://noaction"/>
            <a:extLst>
              <a:ext uri="{FF2B5EF4-FFF2-40B4-BE49-F238E27FC236}">
                <a16:creationId xmlns:a16="http://schemas.microsoft.com/office/drawing/2014/main" id="{64A5D01F-26AC-43E7-AB7A-54DC202B7751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368300" y="4747008"/>
            <a:ext cx="400110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.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3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3763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ACE5EB7-34B1-4640-BF23-45B1B07D23B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l-NL" dirty="0"/>
              <a:t>Om video te starten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5443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28D1D13-4847-4316-854F-33AEF703E0F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33480" y="2028616"/>
            <a:ext cx="8456356" cy="2800767"/>
          </a:xfrm>
        </p:spPr>
        <p:txBody>
          <a:bodyPr/>
          <a:lstStyle/>
          <a:p>
            <a:r>
              <a:rPr lang="nl-NL" dirty="0"/>
              <a:t>Er wordt gestorven </a:t>
            </a:r>
            <a:br>
              <a:rPr lang="nl-NL" dirty="0"/>
            </a:br>
            <a:r>
              <a:rPr lang="nl-NL" dirty="0"/>
              <a:t>en niet gedood</a:t>
            </a:r>
            <a:endParaRPr lang="ru-RU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62B3A039-3E41-E3BF-E075-DC984C7D5D01}"/>
              </a:ext>
            </a:extLst>
          </p:cNvPr>
          <p:cNvPicPr/>
          <p:nvPr/>
        </p:nvPicPr>
        <p:blipFill>
          <a:blip r:embed="rId2"/>
          <a:stretch/>
        </p:blipFill>
        <p:spPr>
          <a:xfrm>
            <a:off x="588396" y="2333961"/>
            <a:ext cx="725276" cy="528480"/>
          </a:xfrm>
          <a:prstGeom prst="rect">
            <a:avLst/>
          </a:prstGeom>
          <a:ln w="0">
            <a:noFill/>
          </a:ln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CA814F7A-80C3-1DE1-2F68-3B6766E32305}"/>
              </a:ext>
            </a:extLst>
          </p:cNvPr>
          <p:cNvPicPr/>
          <p:nvPr/>
        </p:nvPicPr>
        <p:blipFill>
          <a:blip r:embed="rId2"/>
          <a:stretch/>
        </p:blipFill>
        <p:spPr>
          <a:xfrm rot="10800000">
            <a:off x="5267136" y="3819127"/>
            <a:ext cx="725276" cy="528480"/>
          </a:xfrm>
          <a:prstGeom prst="rect">
            <a:avLst/>
          </a:prstGeom>
          <a:ln w="0">
            <a:noFill/>
          </a:ln>
        </p:spPr>
      </p:pic>
      <p:sp>
        <p:nvSpPr>
          <p:cNvPr id="5" name="TextBox 33">
            <a:extLst>
              <a:ext uri="{FF2B5EF4-FFF2-40B4-BE49-F238E27FC236}">
                <a16:creationId xmlns:a16="http://schemas.microsoft.com/office/drawing/2014/main" id="{21114244-DDB7-E1C3-FF2C-E3E7CDF2020D}"/>
              </a:ext>
            </a:extLst>
          </p:cNvPr>
          <p:cNvSpPr/>
          <p:nvPr/>
        </p:nvSpPr>
        <p:spPr>
          <a:xfrm>
            <a:off x="5267135" y="4699305"/>
            <a:ext cx="3571200" cy="260156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0" bIns="4500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</a:tabLst>
              <a:defRPr/>
            </a:pPr>
            <a:r>
              <a:rPr kumimoji="0" lang="nl-NL" sz="1100" b="0" i="1" u="none" strike="noStrike" kern="1200" cap="none" spc="-1" normalizeH="0" baseline="0" noProof="0">
                <a:ln>
                  <a:noFill/>
                </a:ln>
                <a:solidFill>
                  <a:srgbClr val="EEE8E0"/>
                </a:solidFill>
                <a:effectLst/>
                <a:uLnTx/>
                <a:uFillTx/>
                <a:latin typeface="Lato"/>
                <a:ea typeface="DejaVu Sans"/>
                <a:cs typeface="+mn-cs"/>
              </a:rPr>
              <a:t>Broeckaert</a:t>
            </a:r>
            <a:endParaRPr kumimoji="0" lang="nl-NL" sz="1100" b="0" i="0" u="none" strike="noStrike" kern="1200" cap="none" spc="-1" normalizeH="0" baseline="0" noProof="0">
              <a:ln>
                <a:noFill/>
              </a:ln>
              <a:solidFill>
                <a:srgbClr val="EEE8E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412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9D414-F8D5-4F05-A24C-7045121EF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alliatieve</a:t>
            </a:r>
            <a:r>
              <a:rPr lang="en-US" dirty="0"/>
              <a:t> </a:t>
            </a:r>
            <a:r>
              <a:rPr lang="en-US" dirty="0" err="1"/>
              <a:t>sedatie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DC78BEC-008A-471D-8809-B226681A6FB3}"/>
              </a:ext>
            </a:extLst>
          </p:cNvPr>
          <p:cNvSpPr txBox="1"/>
          <p:nvPr/>
        </p:nvSpPr>
        <p:spPr>
          <a:xfrm>
            <a:off x="4308475" y="2268014"/>
            <a:ext cx="7512050" cy="159351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Het opzettelijk verlagen van het bewustzijn van een patiënt, </a:t>
            </a:r>
            <a:b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met als doel om </a:t>
            </a:r>
            <a:r>
              <a:rPr kumimoji="0" lang="nl-NL" sz="2000" b="1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lijden</a:t>
            </a: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te verlichten.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Het is een complexe medische handeling, </a:t>
            </a:r>
            <a:b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ie op indicatie verricht word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B141623-A7A2-43EB-9FB1-E5FD1F0E14A9}"/>
              </a:ext>
            </a:extLst>
          </p:cNvPr>
          <p:cNvCxnSpPr>
            <a:cxnSpLocks/>
          </p:cNvCxnSpPr>
          <p:nvPr/>
        </p:nvCxnSpPr>
        <p:spPr>
          <a:xfrm>
            <a:off x="4308475" y="2138037"/>
            <a:ext cx="7512050" cy="0"/>
          </a:xfrm>
          <a:prstGeom prst="line">
            <a:avLst/>
          </a:prstGeom>
          <a:ln w="1905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6C38695D-F999-4020-B9DC-C33CF54DD2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08476" y="1423885"/>
            <a:ext cx="458015" cy="572519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B690C29-7BD6-45B0-BA9B-3059A5F6C4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13C17A7-6098-40D5-B73E-EA607EDBD249}"/>
              </a:ext>
            </a:extLst>
          </p:cNvPr>
          <p:cNvSpPr/>
          <p:nvPr/>
        </p:nvSpPr>
        <p:spPr>
          <a:xfrm>
            <a:off x="371476" y="1449338"/>
            <a:ext cx="3571200" cy="467999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F4CECCA6-F495-468E-9868-DB04263AD1C7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10"/>
          <a:stretch/>
        </p:blipFill>
        <p:spPr>
          <a:xfrm>
            <a:off x="825805" y="1694137"/>
            <a:ext cx="3116872" cy="4081796"/>
          </a:xfrm>
          <a:prstGeom prst="rect">
            <a:avLst/>
          </a:prstGeom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85C23209-8D2B-4B53-9CFC-6AF345E0AEFE}"/>
              </a:ext>
            </a:extLst>
          </p:cNvPr>
          <p:cNvSpPr/>
          <p:nvPr/>
        </p:nvSpPr>
        <p:spPr>
          <a:xfrm>
            <a:off x="1061421" y="5408662"/>
            <a:ext cx="536340" cy="53634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11DC9B17-1023-4250-A0C6-7BA0FE66B84B}"/>
              </a:ext>
            </a:extLst>
          </p:cNvPr>
          <p:cNvSpPr/>
          <p:nvPr/>
        </p:nvSpPr>
        <p:spPr>
          <a:xfrm>
            <a:off x="1805740" y="5408662"/>
            <a:ext cx="536340" cy="53634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20E67356-9B2C-42EF-9028-A5821CC01972}"/>
              </a:ext>
            </a:extLst>
          </p:cNvPr>
          <p:cNvSpPr/>
          <p:nvPr/>
        </p:nvSpPr>
        <p:spPr>
          <a:xfrm>
            <a:off x="2550058" y="5408662"/>
            <a:ext cx="536340" cy="53634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5621E829-703A-4376-9574-6F70862F0A3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82811" y="5529296"/>
            <a:ext cx="306000" cy="295071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65F4693D-5EE4-4B25-B825-889E716990CD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911910" y="5588160"/>
            <a:ext cx="324000" cy="187773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0C84E2C4-BB53-4CB3-A53C-665E4215C78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712463" y="5529296"/>
            <a:ext cx="211530" cy="30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3161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B2FFE7-F9FD-4AEB-9394-61E3F1A390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Feiten</a:t>
            </a:r>
            <a:r>
              <a:rPr lang="en-US" dirty="0"/>
              <a:t> </a:t>
            </a:r>
            <a:endParaRPr lang="ru-RU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0114108-B9CE-4E78-AB85-A05EACC16259}"/>
              </a:ext>
            </a:extLst>
          </p:cNvPr>
          <p:cNvGrpSpPr/>
          <p:nvPr/>
        </p:nvGrpSpPr>
        <p:grpSpPr>
          <a:xfrm>
            <a:off x="6369059" y="2073150"/>
            <a:ext cx="3452271" cy="2437908"/>
            <a:chOff x="6369059" y="2073150"/>
            <a:chExt cx="3452271" cy="2437908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F58A645A-0FB4-4C58-8CEE-450E18C97BE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69059" y="2073150"/>
              <a:ext cx="3452271" cy="2437908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00DCCCD7-9431-4DE2-91D2-4CCAA621D918}"/>
                </a:ext>
              </a:extLst>
            </p:cNvPr>
            <p:cNvSpPr txBox="1"/>
            <p:nvPr/>
          </p:nvSpPr>
          <p:spPr>
            <a:xfrm>
              <a:off x="6824831" y="3127466"/>
              <a:ext cx="2540725" cy="6463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1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en-GB" sz="2000" b="0" i="0" u="none" strike="noStrike" kern="1200" cap="none" spc="-1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/>
                  <a:ea typeface="Lato regular"/>
                  <a:cs typeface="+mn-cs"/>
                </a:rPr>
                <a:t>Door welke soort dokter?</a:t>
              </a:r>
              <a:endParaRPr kumimoji="0" lang="en-GB" sz="200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/>
                <a:ea typeface="Lato regular"/>
                <a:cs typeface="+mn-cs"/>
              </a:endParaRPr>
            </a:p>
          </p:txBody>
        </p:sp>
      </p:grpSp>
      <p:grpSp>
        <p:nvGrpSpPr>
          <p:cNvPr id="3" name="Group 2">
            <a:extLst>
              <a:ext uri="{FF2B5EF4-FFF2-40B4-BE49-F238E27FC236}">
                <a16:creationId xmlns:a16="http://schemas.microsoft.com/office/drawing/2014/main" id="{F967D16A-90EC-47DC-B46A-A07BBB63CD38}"/>
              </a:ext>
            </a:extLst>
          </p:cNvPr>
          <p:cNvGrpSpPr/>
          <p:nvPr/>
        </p:nvGrpSpPr>
        <p:grpSpPr>
          <a:xfrm>
            <a:off x="2370671" y="2095429"/>
            <a:ext cx="3449410" cy="2719115"/>
            <a:chOff x="2370671" y="2095429"/>
            <a:chExt cx="3449410" cy="2719115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CDD1E4F-FCC7-404E-BD79-8636CCB894E8}"/>
                </a:ext>
              </a:extLst>
            </p:cNvPr>
            <p:cNvGrpSpPr/>
            <p:nvPr/>
          </p:nvGrpSpPr>
          <p:grpSpPr>
            <a:xfrm>
              <a:off x="2370671" y="2095429"/>
              <a:ext cx="3449410" cy="2397848"/>
              <a:chOff x="2370671" y="2095429"/>
              <a:chExt cx="3449410" cy="2397848"/>
            </a:xfrm>
          </p:grpSpPr>
          <p:pic>
            <p:nvPicPr>
              <p:cNvPr id="5" name="Picture 4">
                <a:extLst>
                  <a:ext uri="{FF2B5EF4-FFF2-40B4-BE49-F238E27FC236}">
                    <a16:creationId xmlns:a16="http://schemas.microsoft.com/office/drawing/2014/main" id="{58C1021D-517D-4453-8091-B1502CF37E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370671" y="2095429"/>
                <a:ext cx="3449410" cy="2397848"/>
              </a:xfrm>
              <a:prstGeom prst="rect">
                <a:avLst/>
              </a:prstGeom>
            </p:spPr>
          </p:pic>
          <p:sp>
            <p:nvSpPr>
              <p:cNvPr id="7" name="TextBox 6">
                <a:extLst>
                  <a:ext uri="{FF2B5EF4-FFF2-40B4-BE49-F238E27FC236}">
                    <a16:creationId xmlns:a16="http://schemas.microsoft.com/office/drawing/2014/main" id="{B04FE0F9-8E29-4306-BCA0-1C3F5E2AFECE}"/>
                  </a:ext>
                </a:extLst>
              </p:cNvPr>
              <p:cNvSpPr txBox="1"/>
              <p:nvPr/>
            </p:nvSpPr>
            <p:spPr>
              <a:xfrm>
                <a:off x="2756841" y="2988967"/>
                <a:ext cx="2540725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ts val="1001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>
                    <a:tab pos="0" algn="l"/>
                  </a:tabLst>
                  <a:defRPr/>
                </a:pPr>
                <a:r>
                  <a:rPr kumimoji="0" lang="en-GB" sz="2000" b="0" i="0" u="none" strike="noStrike" kern="1200" cap="none" spc="-1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/>
                    <a:ea typeface="Lato regular"/>
                    <a:cs typeface="+mn-cs"/>
                  </a:rPr>
                  <a:t>Welk </a:t>
                </a:r>
                <a:r>
                  <a:rPr kumimoji="0" lang="en-GB" sz="2000" b="0" i="0" u="none" strike="noStrike" kern="1200" cap="none" spc="-1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/>
                    <a:ea typeface="Lato regular"/>
                    <a:cs typeface="+mn-cs"/>
                  </a:rPr>
                  <a:t>p</a:t>
                </a:r>
                <a:r>
                  <a:rPr kumimoji="0" lang="en-GB" sz="2000" b="0" i="0" u="none" strike="noStrike" kern="1200" cap="none" spc="-1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/>
                    <a:ea typeface="Lato regular"/>
                    <a:cs typeface="+mn-cs"/>
                  </a:rPr>
                  <a:t>ercentage </a:t>
                </a:r>
                <a:r>
                  <a:rPr kumimoji="0" lang="en-GB" sz="2000" b="0" i="0" u="none" strike="noStrike" kern="1200" cap="none" spc="-1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/>
                    <a:ea typeface="Lato regular"/>
                    <a:cs typeface="+mn-cs"/>
                  </a:rPr>
                  <a:t>aantal</a:t>
                </a:r>
                <a:r>
                  <a:rPr kumimoji="0" lang="en-GB" sz="2000" b="0" i="0" u="none" strike="noStrike" kern="1200" cap="none" spc="-1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/>
                    <a:ea typeface="Lato regular"/>
                    <a:cs typeface="+mn-cs"/>
                  </a:rPr>
                  <a:t> </a:t>
                </a:r>
                <a:r>
                  <a:rPr kumimoji="0" lang="en-GB" sz="2000" b="0" i="0" u="none" strike="noStrike" kern="1200" cap="none" spc="-1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/>
                    <a:ea typeface="Lato regular"/>
                    <a:cs typeface="+mn-cs"/>
                  </a:rPr>
                  <a:t>overlijdens</a:t>
                </a:r>
                <a:r>
                  <a:rPr kumimoji="0" lang="en-GB" sz="2000" b="0" i="0" u="none" strike="noStrike" kern="1200" cap="none" spc="-1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 regular"/>
                    <a:ea typeface="Lato regular"/>
                    <a:cs typeface="+mn-cs"/>
                  </a:rPr>
                  <a:t>?</a:t>
                </a:r>
                <a:endParaRPr kumimoji="0" lang="nl-NL" sz="2000" b="0" i="0" u="none" strike="noStrike" kern="1200" cap="none" spc="-1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FDECF26E-8C93-4997-ADD8-B679A2AEC749}"/>
                </a:ext>
              </a:extLst>
            </p:cNvPr>
            <p:cNvSpPr txBox="1"/>
            <p:nvPr/>
          </p:nvSpPr>
          <p:spPr>
            <a:xfrm>
              <a:off x="2370671" y="4599100"/>
              <a:ext cx="3449410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1" u="none" strike="noStrike" kern="1200" cap="none" spc="0" normalizeH="0" baseline="0" noProof="0" dirty="0" err="1">
                  <a:ln>
                    <a:noFill/>
                  </a:ln>
                  <a:solidFill>
                    <a:srgbClr val="B2B2B2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Vraag</a:t>
              </a:r>
              <a:r>
                <a:rPr kumimoji="0" lang="en-US" sz="1400" b="0" i="1" u="none" strike="noStrike" kern="1200" cap="none" spc="0" normalizeH="0" baseline="0" noProof="0" dirty="0">
                  <a:ln>
                    <a:noFill/>
                  </a:ln>
                  <a:solidFill>
                    <a:srgbClr val="B2B2B2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 1</a:t>
              </a:r>
              <a:endPara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FCF0DBAA-BD54-4BF9-946B-1EF36945D983}"/>
              </a:ext>
            </a:extLst>
          </p:cNvPr>
          <p:cNvSpPr txBox="1"/>
          <p:nvPr/>
        </p:nvSpPr>
        <p:spPr>
          <a:xfrm>
            <a:off x="6371919" y="4599100"/>
            <a:ext cx="344941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Vraag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2</a:t>
            </a: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4134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7151DA-820B-466A-969F-23031C15F3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Feiten</a:t>
            </a:r>
            <a:endParaRPr lang="ru-RU" dirty="0">
              <a:solidFill>
                <a:schemeClr val="accent6"/>
              </a:solidFill>
              <a:latin typeface="EB Garamond" panose="00000500000000000000" pitchFamily="2" charset="0"/>
              <a:ea typeface="EB Garamond" panose="00000500000000000000" pitchFamily="2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02F1F7A-F7C6-40AC-BB21-6F18DE2B96F2}"/>
              </a:ext>
            </a:extLst>
          </p:cNvPr>
          <p:cNvSpPr txBox="1"/>
          <p:nvPr/>
        </p:nvSpPr>
        <p:spPr>
          <a:xfrm>
            <a:off x="371475" y="1272783"/>
            <a:ext cx="3571200" cy="276999"/>
          </a:xfrm>
          <a:prstGeom prst="rect">
            <a:avLst/>
          </a:prstGeom>
          <a:noFill/>
        </p:spPr>
        <p:txBody>
          <a:bodyPr wrap="square" lIns="0" tIns="0" rIns="0" bIns="0" numCol="1" spcCol="360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Aantal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A6611F7-6EC0-4C6C-8D43-F0971AF4788B}"/>
              </a:ext>
            </a:extLst>
          </p:cNvPr>
          <p:cNvSpPr txBox="1"/>
          <p:nvPr/>
        </p:nvSpPr>
        <p:spPr>
          <a:xfrm>
            <a:off x="4312325" y="1272783"/>
            <a:ext cx="3571200" cy="276999"/>
          </a:xfrm>
          <a:prstGeom prst="rect">
            <a:avLst/>
          </a:prstGeom>
          <a:noFill/>
        </p:spPr>
        <p:txBody>
          <a:bodyPr wrap="square" lIns="0" tIns="0" rIns="0" bIns="0" numCol="1" spcCol="360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oor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8E4BBFE-10DF-4D81-BE00-E9EB91202AFC}"/>
              </a:ext>
            </a:extLst>
          </p:cNvPr>
          <p:cNvSpPr txBox="1"/>
          <p:nvPr/>
        </p:nvSpPr>
        <p:spPr>
          <a:xfrm>
            <a:off x="8249327" y="1277484"/>
            <a:ext cx="3571200" cy="276999"/>
          </a:xfrm>
          <a:prstGeom prst="rect">
            <a:avLst/>
          </a:prstGeom>
          <a:noFill/>
        </p:spPr>
        <p:txBody>
          <a:bodyPr wrap="square" lIns="0" tIns="0" rIns="0" bIns="0" numCol="1" spcCol="360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Onderliggende ziekte</a:t>
            </a:r>
          </a:p>
        </p:txBody>
      </p:sp>
      <p:graphicFrame>
        <p:nvGraphicFramePr>
          <p:cNvPr id="9" name="Grafiek 7">
            <a:extLst>
              <a:ext uri="{FF2B5EF4-FFF2-40B4-BE49-F238E27FC236}">
                <a16:creationId xmlns:a16="http://schemas.microsoft.com/office/drawing/2014/main" id="{5C431046-AFC3-417A-8892-6EC29B9DAD49}"/>
              </a:ext>
            </a:extLst>
          </p:cNvPr>
          <p:cNvGraphicFramePr/>
          <p:nvPr/>
        </p:nvGraphicFramePr>
        <p:xfrm>
          <a:off x="371475" y="2391402"/>
          <a:ext cx="3571875" cy="373793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19BD300A-AA25-4B8C-BF26-5127861221E3}"/>
              </a:ext>
            </a:extLst>
          </p:cNvPr>
          <p:cNvCxnSpPr>
            <a:cxnSpLocks/>
          </p:cNvCxnSpPr>
          <p:nvPr/>
        </p:nvCxnSpPr>
        <p:spPr>
          <a:xfrm>
            <a:off x="3256171" y="2225464"/>
            <a:ext cx="0" cy="274674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D369C48-588C-42D6-A6CC-C481218550F4}"/>
              </a:ext>
            </a:extLst>
          </p:cNvPr>
          <p:cNvCxnSpPr>
            <a:cxnSpLocks/>
          </p:cNvCxnSpPr>
          <p:nvPr/>
        </p:nvCxnSpPr>
        <p:spPr>
          <a:xfrm>
            <a:off x="2157075" y="2225463"/>
            <a:ext cx="1099096" cy="1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2548EA5A-A91C-4BF3-8103-0E6624BFC61C}"/>
              </a:ext>
            </a:extLst>
          </p:cNvPr>
          <p:cNvCxnSpPr>
            <a:cxnSpLocks/>
          </p:cNvCxnSpPr>
          <p:nvPr/>
        </p:nvCxnSpPr>
        <p:spPr>
          <a:xfrm flipV="1">
            <a:off x="2161878" y="2225464"/>
            <a:ext cx="0" cy="1265848"/>
          </a:xfrm>
          <a:prstGeom prst="line">
            <a:avLst/>
          </a:prstGeom>
          <a:ln w="12700">
            <a:solidFill>
              <a:schemeClr val="accent5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23">
            <a:extLst>
              <a:ext uri="{FF2B5EF4-FFF2-40B4-BE49-F238E27FC236}">
                <a16:creationId xmlns:a16="http://schemas.microsoft.com/office/drawing/2014/main" id="{BB386819-6C97-4EED-9A66-4531659F529F}"/>
              </a:ext>
            </a:extLst>
          </p:cNvPr>
          <p:cNvGrpSpPr/>
          <p:nvPr/>
        </p:nvGrpSpPr>
        <p:grpSpPr>
          <a:xfrm>
            <a:off x="2300796" y="1899187"/>
            <a:ext cx="954325" cy="648000"/>
            <a:chOff x="6051514" y="3159695"/>
            <a:chExt cx="954325" cy="609493"/>
          </a:xfrm>
        </p:grpSpPr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06484DE2-9924-4B88-A3DD-A2444A0508DF}"/>
                </a:ext>
              </a:extLst>
            </p:cNvPr>
            <p:cNvSpPr/>
            <p:nvPr/>
          </p:nvSpPr>
          <p:spPr>
            <a:xfrm>
              <a:off x="6172875" y="3159695"/>
              <a:ext cx="648000" cy="609493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 w="2286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AD0B9910-0449-449E-A0A1-255B6A97CACA}"/>
                </a:ext>
              </a:extLst>
            </p:cNvPr>
            <p:cNvSpPr txBox="1"/>
            <p:nvPr/>
          </p:nvSpPr>
          <p:spPr>
            <a:xfrm>
              <a:off x="6051514" y="3225914"/>
              <a:ext cx="954325" cy="47705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0" i="0" u="none" strike="noStrike" kern="1200" cap="none" spc="0" normalizeH="0" baseline="0" noProof="0" dirty="0">
                  <a:ln>
                    <a:noFill/>
                  </a:ln>
                  <a:solidFill>
                    <a:srgbClr val="769D94"/>
                  </a:solidFill>
                  <a:effectLst/>
                  <a:uLnTx/>
                  <a:uFillTx/>
                  <a:latin typeface="EB Garamond SemiBold"/>
                  <a:ea typeface="+mn-ea"/>
                  <a:cs typeface="+mn-cs"/>
                </a:rPr>
                <a:t>+50%</a:t>
              </a:r>
              <a:endPara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769D94"/>
                </a:solidFill>
                <a:effectLst/>
                <a:uLnTx/>
                <a:uFillTx/>
                <a:latin typeface="EB Garamond SemiBold"/>
                <a:ea typeface="+mn-ea"/>
                <a:cs typeface="+mn-cs"/>
              </a:endParaRPr>
            </a:p>
          </p:txBody>
        </p:sp>
      </p:grp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3C3F8D19-BA59-4E2C-96E9-976CAC3D99E5}"/>
              </a:ext>
            </a:extLst>
          </p:cNvPr>
          <p:cNvGraphicFramePr/>
          <p:nvPr/>
        </p:nvGraphicFramePr>
        <p:xfrm>
          <a:off x="4312325" y="2216469"/>
          <a:ext cx="3578226" cy="39128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DC9A2395-00CF-4629-A440-7BBEF0091C2B}"/>
              </a:ext>
            </a:extLst>
          </p:cNvPr>
          <p:cNvGraphicFramePr/>
          <p:nvPr/>
        </p:nvGraphicFramePr>
        <p:xfrm>
          <a:off x="8241009" y="2216469"/>
          <a:ext cx="3578226" cy="391286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extBox 33">
            <a:extLst>
              <a:ext uri="{FF2B5EF4-FFF2-40B4-BE49-F238E27FC236}">
                <a16:creationId xmlns:a16="http://schemas.microsoft.com/office/drawing/2014/main" id="{F2417CC7-0B44-9FA2-9B55-30C7977D2E4D}"/>
              </a:ext>
            </a:extLst>
          </p:cNvPr>
          <p:cNvSpPr/>
          <p:nvPr/>
        </p:nvSpPr>
        <p:spPr>
          <a:xfrm>
            <a:off x="8713719" y="6323367"/>
            <a:ext cx="3571200" cy="229378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0" bIns="4500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</a:tabLst>
              <a:defRPr/>
            </a:pPr>
            <a:r>
              <a:rPr kumimoji="0" lang="nl-NL" sz="900" b="0" i="1" u="none" strike="noStrike" kern="1200" cap="none" spc="-1" normalizeH="0" baseline="0" noProof="0">
                <a:ln>
                  <a:noFill/>
                </a:ln>
                <a:solidFill>
                  <a:srgbClr val="5D5C56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Uit: Sterfgevallen onderzoek (CBS) verwachte update mei 2023</a:t>
            </a:r>
            <a:endParaRPr kumimoji="0" lang="nl-NL" sz="900" b="0" i="0" u="none" strike="noStrike" kern="1200" cap="none" spc="-1" normalizeH="0" baseline="0" noProof="0">
              <a:ln>
                <a:noFill/>
              </a:ln>
              <a:solidFill>
                <a:srgbClr val="5D5C5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5560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Grafiek 7">
            <a:extLst>
              <a:ext uri="{FF2B5EF4-FFF2-40B4-BE49-F238E27FC236}">
                <a16:creationId xmlns:a16="http://schemas.microsoft.com/office/drawing/2014/main" id="{C312359B-8F24-4305-AFC2-690E46F7D63C}"/>
              </a:ext>
            </a:extLst>
          </p:cNvPr>
          <p:cNvGraphicFramePr/>
          <p:nvPr/>
        </p:nvGraphicFramePr>
        <p:xfrm>
          <a:off x="4305301" y="1449388"/>
          <a:ext cx="7509220" cy="4679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F7F217-BFC9-4290-952D-71382BDCF5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alliatieve</a:t>
            </a:r>
            <a:r>
              <a:rPr lang="en-US" dirty="0"/>
              <a:t> </a:t>
            </a:r>
            <a:r>
              <a:rPr lang="en-US" dirty="0" err="1"/>
              <a:t>sedatie</a:t>
            </a:r>
            <a:r>
              <a:rPr lang="en-US" dirty="0"/>
              <a:t> </a:t>
            </a:r>
            <a:r>
              <a:rPr lang="en-US" dirty="0" err="1"/>
              <a:t>nationaal</a:t>
            </a:r>
            <a:endParaRPr lang="ru-RU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0F5546C-6F73-4B94-9C39-CE5A24B102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1476" y="1449388"/>
            <a:ext cx="3571874" cy="425504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B089D54-4C54-473C-A7F9-B0EF0FDD949D}"/>
              </a:ext>
            </a:extLst>
          </p:cNvPr>
          <p:cNvSpPr txBox="1"/>
          <p:nvPr/>
        </p:nvSpPr>
        <p:spPr>
          <a:xfrm>
            <a:off x="1235377" y="1590544"/>
            <a:ext cx="2707974" cy="553998"/>
          </a:xfrm>
          <a:prstGeom prst="rect">
            <a:avLst/>
          </a:prstGeom>
          <a:noFill/>
        </p:spPr>
        <p:txBody>
          <a:bodyPr wrap="square" lIns="108000" tIns="0" rIns="0" bIns="0">
            <a:spAutoFit/>
          </a:bodyPr>
          <a:lstStyle/>
          <a:p>
            <a:pPr marL="360" marR="0" lvl="0" indent="0" algn="l" defTabSz="914400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-1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"/>
                <a:ea typeface="Lato regular"/>
                <a:cs typeface="+mn-cs"/>
              </a:rPr>
              <a:t>Verdubbeling</a:t>
            </a:r>
            <a:r>
              <a:rPr kumimoji="0" lang="en-US" sz="2000" b="0" i="0" u="none" strike="noStrike" kern="1200" cap="none" spc="-1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"/>
                <a:ea typeface="Lato regular"/>
                <a:cs typeface="+mn-cs"/>
              </a:rPr>
              <a:t> </a:t>
            </a:r>
            <a:br>
              <a:rPr kumimoji="0" lang="ru-RU" sz="2000" b="0" i="0" u="none" strike="noStrike" kern="1200" cap="none" spc="-1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"/>
                <a:ea typeface="Lato regular"/>
                <a:cs typeface="+mn-cs"/>
              </a:rPr>
            </a:br>
            <a:r>
              <a:rPr kumimoji="0" lang="en-US" sz="2000" b="0" i="0" u="none" strike="noStrike" kern="1200" cap="none" spc="-1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"/>
                <a:ea typeface="Lato regular"/>
                <a:cs typeface="+mn-cs"/>
              </a:rPr>
              <a:t>van de </a:t>
            </a:r>
            <a:r>
              <a:rPr kumimoji="0" lang="en-US" sz="2000" b="0" i="0" u="none" strike="noStrike" kern="1200" cap="none" spc="-1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"/>
                <a:ea typeface="Lato regular"/>
                <a:cs typeface="+mn-cs"/>
              </a:rPr>
              <a:t>overlijdens</a:t>
            </a:r>
            <a:endParaRPr kumimoji="0" lang="nl-NL" sz="2000" b="0" i="0" u="none" strike="noStrike" kern="1200" cap="none" spc="-1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Lato"/>
              <a:ea typeface="Lato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E414CC4-EFE2-4D4D-91F3-4BBFB8A1916D}"/>
              </a:ext>
            </a:extLst>
          </p:cNvPr>
          <p:cNvGrpSpPr/>
          <p:nvPr/>
        </p:nvGrpSpPr>
        <p:grpSpPr>
          <a:xfrm>
            <a:off x="371475" y="1466379"/>
            <a:ext cx="802329" cy="802329"/>
            <a:chOff x="6456363" y="1449957"/>
            <a:chExt cx="802329" cy="802329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DC0D86CE-1CF1-497F-BFB5-72EF5F733080}"/>
                </a:ext>
              </a:extLst>
            </p:cNvPr>
            <p:cNvSpPr/>
            <p:nvPr/>
          </p:nvSpPr>
          <p:spPr>
            <a:xfrm>
              <a:off x="6456363" y="1449957"/>
              <a:ext cx="802329" cy="802329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31C3D0D1-2837-4587-8574-15683682AAD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698304" y="1635121"/>
              <a:ext cx="318446" cy="432000"/>
            </a:xfrm>
            <a:prstGeom prst="rect">
              <a:avLst/>
            </a:prstGeom>
          </p:spPr>
        </p:pic>
      </p:grpSp>
      <p:graphicFrame>
        <p:nvGraphicFramePr>
          <p:cNvPr id="13" name="Grafiek 7">
            <a:extLst>
              <a:ext uri="{FF2B5EF4-FFF2-40B4-BE49-F238E27FC236}">
                <a16:creationId xmlns:a16="http://schemas.microsoft.com/office/drawing/2014/main" id="{E7FA775B-A7B7-447A-8285-C2A167BE1199}"/>
              </a:ext>
            </a:extLst>
          </p:cNvPr>
          <p:cNvGraphicFramePr/>
          <p:nvPr/>
        </p:nvGraphicFramePr>
        <p:xfrm>
          <a:off x="803426" y="2760731"/>
          <a:ext cx="2707974" cy="32342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3" name="TextBox 33">
            <a:extLst>
              <a:ext uri="{FF2B5EF4-FFF2-40B4-BE49-F238E27FC236}">
                <a16:creationId xmlns:a16="http://schemas.microsoft.com/office/drawing/2014/main" id="{4CA81102-36AC-60E8-C782-4E6D009B23F9}"/>
              </a:ext>
            </a:extLst>
          </p:cNvPr>
          <p:cNvSpPr/>
          <p:nvPr/>
        </p:nvSpPr>
        <p:spPr>
          <a:xfrm>
            <a:off x="9091788" y="6208678"/>
            <a:ext cx="3571200" cy="229378"/>
          </a:xfrm>
          <a:prstGeom prst="rect">
            <a:avLst/>
          </a:prstGeom>
          <a:noFill/>
          <a:ln w="0"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45000" rIns="0" bIns="4500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</a:tabLst>
              <a:defRPr/>
            </a:pPr>
            <a:r>
              <a:rPr kumimoji="0" lang="nl-NL" sz="900" b="0" i="1" u="none" strike="noStrike" kern="1200" cap="none" spc="-1" normalizeH="0" baseline="0" noProof="0">
                <a:ln>
                  <a:noFill/>
                </a:ln>
                <a:solidFill>
                  <a:srgbClr val="5D5C56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Ontleend aan getallen uit Farmaceutische Kengetallen</a:t>
            </a:r>
            <a:endParaRPr kumimoji="0" lang="nl-NL" sz="900" b="0" i="0" u="none" strike="noStrike" kern="1200" cap="none" spc="-1" normalizeH="0" baseline="0" noProof="0">
              <a:ln>
                <a:noFill/>
              </a:ln>
              <a:solidFill>
                <a:srgbClr val="5D5C56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6127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F7F217-BFC9-4290-952D-71382BDCF5D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alliatieve</a:t>
            </a:r>
            <a:r>
              <a:rPr lang="en-US" dirty="0"/>
              <a:t> </a:t>
            </a:r>
            <a:r>
              <a:rPr lang="en-US" dirty="0" err="1"/>
              <a:t>sedatie</a:t>
            </a:r>
            <a:r>
              <a:rPr lang="en-US" dirty="0"/>
              <a:t> </a:t>
            </a:r>
            <a:r>
              <a:rPr lang="en-US" dirty="0" err="1"/>
              <a:t>nationaal</a:t>
            </a:r>
            <a:endParaRPr lang="ru-RU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60F5546C-6F73-4B94-9C39-CE5A24B102D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72639" y="1651543"/>
            <a:ext cx="3571874" cy="425504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B089D54-4C54-473C-A7F9-B0EF0FDD949D}"/>
              </a:ext>
            </a:extLst>
          </p:cNvPr>
          <p:cNvSpPr txBox="1"/>
          <p:nvPr/>
        </p:nvSpPr>
        <p:spPr>
          <a:xfrm>
            <a:off x="1235377" y="1590544"/>
            <a:ext cx="2707974" cy="553998"/>
          </a:xfrm>
          <a:prstGeom prst="rect">
            <a:avLst/>
          </a:prstGeom>
          <a:noFill/>
        </p:spPr>
        <p:txBody>
          <a:bodyPr wrap="square" lIns="108000" tIns="0" rIns="0" bIns="0">
            <a:spAutoFit/>
          </a:bodyPr>
          <a:lstStyle/>
          <a:p>
            <a:pPr marL="360" marR="0" lvl="0" indent="0" algn="l" defTabSz="914400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-1" normalizeH="0" baseline="0" noProof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"/>
                <a:ea typeface="Lato regular"/>
                <a:cs typeface="+mn-cs"/>
              </a:rPr>
              <a:t>Stijging in de cijfers:  </a:t>
            </a:r>
            <a:br>
              <a:rPr kumimoji="0" lang="ru-RU" sz="2000" b="0" i="0" u="none" strike="noStrike" kern="1200" cap="none" spc="-1" normalizeH="0" baseline="0" noProof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"/>
                <a:ea typeface="Lato regular"/>
                <a:cs typeface="+mn-cs"/>
              </a:rPr>
            </a:br>
            <a:endParaRPr kumimoji="0" lang="nl-NL" sz="2000" b="0" i="0" u="none" strike="noStrike" kern="1200" cap="none" spc="-1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Lato"/>
              <a:ea typeface="Lato"/>
              <a:cs typeface="+mn-cs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CE414CC4-EFE2-4D4D-91F3-4BBFB8A1916D}"/>
              </a:ext>
            </a:extLst>
          </p:cNvPr>
          <p:cNvGrpSpPr/>
          <p:nvPr/>
        </p:nvGrpSpPr>
        <p:grpSpPr>
          <a:xfrm>
            <a:off x="371475" y="1466379"/>
            <a:ext cx="802329" cy="802329"/>
            <a:chOff x="6456363" y="1449957"/>
            <a:chExt cx="802329" cy="802329"/>
          </a:xfrm>
        </p:grpSpPr>
        <p:sp>
          <p:nvSpPr>
            <p:cNvPr id="10" name="Oval 9">
              <a:extLst>
                <a:ext uri="{FF2B5EF4-FFF2-40B4-BE49-F238E27FC236}">
                  <a16:creationId xmlns:a16="http://schemas.microsoft.com/office/drawing/2014/main" id="{DC0D86CE-1CF1-497F-BFB5-72EF5F733080}"/>
                </a:ext>
              </a:extLst>
            </p:cNvPr>
            <p:cNvSpPr/>
            <p:nvPr/>
          </p:nvSpPr>
          <p:spPr>
            <a:xfrm>
              <a:off x="6456363" y="1449957"/>
              <a:ext cx="802329" cy="802329"/>
            </a:xfrm>
            <a:prstGeom prst="ellips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31C3D0D1-2837-4587-8574-15683682AAD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689512" y="1626329"/>
              <a:ext cx="318446" cy="432000"/>
            </a:xfrm>
            <a:prstGeom prst="rect">
              <a:avLst/>
            </a:prstGeom>
          </p:spPr>
        </p:pic>
      </p:grpSp>
      <p:sp>
        <p:nvSpPr>
          <p:cNvPr id="15" name="Tekstvak 14">
            <a:extLst>
              <a:ext uri="{FF2B5EF4-FFF2-40B4-BE49-F238E27FC236}">
                <a16:creationId xmlns:a16="http://schemas.microsoft.com/office/drawing/2014/main" id="{524053A6-7C73-3627-86AD-36821E0CECC0}"/>
              </a:ext>
            </a:extLst>
          </p:cNvPr>
          <p:cNvSpPr txBox="1"/>
          <p:nvPr/>
        </p:nvSpPr>
        <p:spPr>
          <a:xfrm>
            <a:off x="3048733" y="2551837"/>
            <a:ext cx="6097464" cy="31393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Totaal aantal overlijdens in Nederland in 2015 was 147.13423% daarvan overlijdt 33.840  met (niet door!) palliatieve sedati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MAA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Het aantal verwachte overlijdens (70% van het totaal) bedraagt 102.993 en daar 33.840 van is ongeveer 30%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us één op de drie patiënten die niet acuut overlijden ondergaan een vorm van sedatie</a:t>
            </a:r>
          </a:p>
        </p:txBody>
      </p:sp>
    </p:spTree>
    <p:extLst>
      <p:ext uri="{BB962C8B-B14F-4D97-AF65-F5344CB8AC3E}">
        <p14:creationId xmlns:p14="http://schemas.microsoft.com/office/powerpoint/2010/main" val="3274397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9D414-F8D5-4F05-A24C-7045121EF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alliatieve</a:t>
            </a:r>
            <a:r>
              <a:rPr lang="en-US" dirty="0"/>
              <a:t> </a:t>
            </a:r>
            <a:r>
              <a:rPr lang="en-US" dirty="0" err="1"/>
              <a:t>sedatie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DC78BEC-008A-471D-8809-B226681A6FB3}"/>
              </a:ext>
            </a:extLst>
          </p:cNvPr>
          <p:cNvSpPr txBox="1"/>
          <p:nvPr/>
        </p:nvSpPr>
        <p:spPr>
          <a:xfrm>
            <a:off x="4308475" y="2268014"/>
            <a:ext cx="3575050" cy="270150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Het opzettelijk verlagen van </a:t>
            </a:r>
            <a:b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het bewustzijn van een patiënt, </a:t>
            </a:r>
            <a:b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met als doel om </a:t>
            </a:r>
            <a:r>
              <a:rPr kumimoji="0" lang="nl-NL" sz="2000" b="1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lijden </a:t>
            </a:r>
            <a:b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te verlichten. 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Het is een complexe medische handeling, die op indicatie verricht word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B141623-A7A2-43EB-9FB1-E5FD1F0E14A9}"/>
              </a:ext>
            </a:extLst>
          </p:cNvPr>
          <p:cNvCxnSpPr>
            <a:cxnSpLocks/>
          </p:cNvCxnSpPr>
          <p:nvPr/>
        </p:nvCxnSpPr>
        <p:spPr>
          <a:xfrm>
            <a:off x="4308475" y="2138037"/>
            <a:ext cx="3575050" cy="0"/>
          </a:xfrm>
          <a:prstGeom prst="line">
            <a:avLst/>
          </a:prstGeom>
          <a:ln w="1905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6C38695D-F999-4020-B9DC-C33CF54DD2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08476" y="1423885"/>
            <a:ext cx="458015" cy="572519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73E9450F-6B2E-4F7B-A8DC-D6E4341AA927}"/>
              </a:ext>
            </a:extLst>
          </p:cNvPr>
          <p:cNvSpPr/>
          <p:nvPr/>
        </p:nvSpPr>
        <p:spPr>
          <a:xfrm>
            <a:off x="371476" y="1449338"/>
            <a:ext cx="3571200" cy="467999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id="{7447D6EE-8B48-493D-9F3E-A6440BB2EC05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10"/>
          <a:stretch/>
        </p:blipFill>
        <p:spPr>
          <a:xfrm>
            <a:off x="825805" y="1694137"/>
            <a:ext cx="3116872" cy="4081796"/>
          </a:xfrm>
          <a:prstGeom prst="rect">
            <a:avLst/>
          </a:prstGeom>
        </p:spPr>
      </p:pic>
      <p:sp>
        <p:nvSpPr>
          <p:cNvPr id="20" name="Oval 19">
            <a:extLst>
              <a:ext uri="{FF2B5EF4-FFF2-40B4-BE49-F238E27FC236}">
                <a16:creationId xmlns:a16="http://schemas.microsoft.com/office/drawing/2014/main" id="{12E620B8-7B67-4EF3-8B1B-C582C8A8535E}"/>
              </a:ext>
            </a:extLst>
          </p:cNvPr>
          <p:cNvSpPr/>
          <p:nvPr/>
        </p:nvSpPr>
        <p:spPr>
          <a:xfrm>
            <a:off x="1061421" y="5408662"/>
            <a:ext cx="536340" cy="53634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2BCF7DDC-6A1E-40D9-9DC2-0E5F25F6F543}"/>
              </a:ext>
            </a:extLst>
          </p:cNvPr>
          <p:cNvSpPr/>
          <p:nvPr/>
        </p:nvSpPr>
        <p:spPr>
          <a:xfrm>
            <a:off x="1805740" y="5408662"/>
            <a:ext cx="536340" cy="53634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F16A1572-00B9-4524-8355-3A79857FF304}"/>
              </a:ext>
            </a:extLst>
          </p:cNvPr>
          <p:cNvSpPr/>
          <p:nvPr/>
        </p:nvSpPr>
        <p:spPr>
          <a:xfrm>
            <a:off x="2550058" y="5408662"/>
            <a:ext cx="536340" cy="53634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EE1CC92F-CC27-4651-BD0B-0E44DD9AEA0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82811" y="5529296"/>
            <a:ext cx="306000" cy="295071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E91F7131-3613-48D9-9FCF-51FA5DACA2A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911910" y="5588160"/>
            <a:ext cx="324000" cy="187773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4C45B695-1ACA-4B51-9AAC-1470411DE0B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712463" y="5529296"/>
            <a:ext cx="211530" cy="306000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6A795FFA-AA92-4D28-A136-82EA8556CD95}"/>
              </a:ext>
            </a:extLst>
          </p:cNvPr>
          <p:cNvSpPr txBox="1"/>
          <p:nvPr/>
        </p:nvSpPr>
        <p:spPr>
          <a:xfrm>
            <a:off x="8245475" y="4000728"/>
            <a:ext cx="3571200" cy="128418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72000" tIns="72000" rIns="72000" bIns="72000" numCol="1" spcCol="360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F5A46D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ndicatie 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5A46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Aanwezigheid refractair symptoom dat leidt tot ondraaglijk lijden</a:t>
            </a:r>
          </a:p>
          <a:p>
            <a:pPr marL="17938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769D94"/>
              </a:buClr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(geldt ook voor intermitterend)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72D85211-1F4C-45C8-AEEF-820F578CC557}"/>
              </a:ext>
            </a:extLst>
          </p:cNvPr>
          <p:cNvSpPr txBox="1"/>
          <p:nvPr/>
        </p:nvSpPr>
        <p:spPr>
          <a:xfrm>
            <a:off x="8245475" y="2138037"/>
            <a:ext cx="3575049" cy="160734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72000" tIns="72000" rIns="72000" bIns="72000" numCol="1" spcCol="360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F5A46D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Voorwaarde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5A46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V</a:t>
            </a: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erwacht overlijden binnen </a:t>
            </a:r>
            <a:b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 weken 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5A46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Geen toediening van vocht </a:t>
            </a:r>
          </a:p>
          <a:p>
            <a:pPr marL="17938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769D94"/>
              </a:buClr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(geldt beide  niet voor intermitterend)</a:t>
            </a:r>
          </a:p>
        </p:txBody>
      </p:sp>
    </p:spTree>
    <p:extLst>
      <p:ext uri="{BB962C8B-B14F-4D97-AF65-F5344CB8AC3E}">
        <p14:creationId xmlns:p14="http://schemas.microsoft.com/office/powerpoint/2010/main" val="1419285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DA9669-E792-4423-BFD6-E19083AAA7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Refractair</a:t>
            </a:r>
            <a:r>
              <a:rPr lang="en-US" dirty="0"/>
              <a:t> </a:t>
            </a:r>
            <a:r>
              <a:rPr lang="en-US" dirty="0" err="1"/>
              <a:t>symptoom</a:t>
            </a:r>
            <a:endParaRPr lang="ru-RU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9288678-5848-4F0F-BD6F-A214334A3CB1}"/>
              </a:ext>
            </a:extLst>
          </p:cNvPr>
          <p:cNvSpPr/>
          <p:nvPr/>
        </p:nvSpPr>
        <p:spPr>
          <a:xfrm>
            <a:off x="371476" y="1449388"/>
            <a:ext cx="3007828" cy="84257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s 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het symptoom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behandelbaar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?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BD910A0-DB55-4A78-962A-0B9D95FA7EEF}"/>
              </a:ext>
            </a:extLst>
          </p:cNvPr>
          <p:cNvSpPr/>
          <p:nvPr/>
        </p:nvSpPr>
        <p:spPr>
          <a:xfrm>
            <a:off x="371475" y="2614545"/>
            <a:ext cx="3007829" cy="101352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s de behandeling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uitvoerbaar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zonder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onaanvaardbar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bijwerkingen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?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818808C-D06F-463E-989C-936B91A01D32}"/>
              </a:ext>
            </a:extLst>
          </p:cNvPr>
          <p:cNvSpPr/>
          <p:nvPr/>
        </p:nvSpPr>
        <p:spPr>
          <a:xfrm>
            <a:off x="371475" y="3950654"/>
            <a:ext cx="3007829" cy="101352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Leid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de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behandeling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voldoende</a:t>
            </a: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(snel) tot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het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gewenst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effect?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C634E36-87C6-45FB-860E-BAF537E94973}"/>
              </a:ext>
            </a:extLst>
          </p:cNvPr>
          <p:cNvSpPr/>
          <p:nvPr/>
        </p:nvSpPr>
        <p:spPr>
          <a:xfrm>
            <a:off x="371475" y="5286763"/>
            <a:ext cx="3007829" cy="8425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Het symptoom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s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niet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refractair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653FDC7-7EA8-4BBF-B702-E53A8CF98014}"/>
              </a:ext>
            </a:extLst>
          </p:cNvPr>
          <p:cNvSpPr/>
          <p:nvPr/>
        </p:nvSpPr>
        <p:spPr>
          <a:xfrm>
            <a:off x="5249408" y="5286763"/>
            <a:ext cx="2634117" cy="84257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Het symptoom 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s </a:t>
            </a: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refractair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5946563E-ECA7-48D7-ABE7-24606F08635E}"/>
              </a:ext>
            </a:extLst>
          </p:cNvPr>
          <p:cNvCxnSpPr>
            <a:cxnSpLocks/>
          </p:cNvCxnSpPr>
          <p:nvPr/>
        </p:nvCxnSpPr>
        <p:spPr>
          <a:xfrm>
            <a:off x="1879180" y="2286805"/>
            <a:ext cx="0" cy="341290"/>
          </a:xfrm>
          <a:prstGeom prst="straightConnector1">
            <a:avLst/>
          </a:prstGeom>
          <a:ln w="12700">
            <a:solidFill>
              <a:schemeClr val="accent5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8D0B545D-5B7A-4013-895D-B2FD7C94BB73}"/>
              </a:ext>
            </a:extLst>
          </p:cNvPr>
          <p:cNvCxnSpPr>
            <a:cxnSpLocks/>
          </p:cNvCxnSpPr>
          <p:nvPr/>
        </p:nvCxnSpPr>
        <p:spPr>
          <a:xfrm>
            <a:off x="1879180" y="3628072"/>
            <a:ext cx="0" cy="341290"/>
          </a:xfrm>
          <a:prstGeom prst="straightConnector1">
            <a:avLst/>
          </a:prstGeom>
          <a:ln w="12700">
            <a:solidFill>
              <a:schemeClr val="accent5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F39E20F5-F48C-4C42-BD0E-09B96ACE2513}"/>
              </a:ext>
            </a:extLst>
          </p:cNvPr>
          <p:cNvCxnSpPr>
            <a:cxnSpLocks/>
          </p:cNvCxnSpPr>
          <p:nvPr/>
        </p:nvCxnSpPr>
        <p:spPr>
          <a:xfrm>
            <a:off x="1879180" y="4964181"/>
            <a:ext cx="0" cy="341290"/>
          </a:xfrm>
          <a:prstGeom prst="straightConnector1">
            <a:avLst/>
          </a:prstGeom>
          <a:ln w="12700">
            <a:solidFill>
              <a:schemeClr val="accent5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ABE1768A-188C-4A95-9218-FEBDDD60D671}"/>
              </a:ext>
            </a:extLst>
          </p:cNvPr>
          <p:cNvCxnSpPr>
            <a:cxnSpLocks/>
            <a:stCxn id="7" idx="3"/>
          </p:cNvCxnSpPr>
          <p:nvPr/>
        </p:nvCxnSpPr>
        <p:spPr>
          <a:xfrm>
            <a:off x="3379304" y="1870676"/>
            <a:ext cx="3187163" cy="0"/>
          </a:xfrm>
          <a:prstGeom prst="straightConnector1">
            <a:avLst/>
          </a:prstGeom>
          <a:ln w="12700">
            <a:solidFill>
              <a:schemeClr val="accent5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10C38FF-5624-4819-8748-DDEBA90A68C7}"/>
              </a:ext>
            </a:extLst>
          </p:cNvPr>
          <p:cNvCxnSpPr>
            <a:cxnSpLocks/>
          </p:cNvCxnSpPr>
          <p:nvPr/>
        </p:nvCxnSpPr>
        <p:spPr>
          <a:xfrm flipH="1">
            <a:off x="6551875" y="1870676"/>
            <a:ext cx="14592" cy="3416087"/>
          </a:xfrm>
          <a:prstGeom prst="line">
            <a:avLst/>
          </a:prstGeom>
          <a:ln w="12700">
            <a:solidFill>
              <a:schemeClr val="accent5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FDC423F0-2D5D-4E63-9476-1E018E45D088}"/>
              </a:ext>
            </a:extLst>
          </p:cNvPr>
          <p:cNvCxnSpPr>
            <a:stCxn id="8" idx="3"/>
          </p:cNvCxnSpPr>
          <p:nvPr/>
        </p:nvCxnSpPr>
        <p:spPr>
          <a:xfrm>
            <a:off x="3379304" y="3121309"/>
            <a:ext cx="3187163" cy="15591"/>
          </a:xfrm>
          <a:prstGeom prst="line">
            <a:avLst/>
          </a:prstGeom>
          <a:ln w="12700">
            <a:solidFill>
              <a:schemeClr val="accent5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D2AC3C88-A3F7-4A07-A71B-9584C9AFF9B9}"/>
              </a:ext>
            </a:extLst>
          </p:cNvPr>
          <p:cNvCxnSpPr>
            <a:stCxn id="9" idx="3"/>
          </p:cNvCxnSpPr>
          <p:nvPr/>
        </p:nvCxnSpPr>
        <p:spPr>
          <a:xfrm>
            <a:off x="3379304" y="4457418"/>
            <a:ext cx="3172571" cy="6632"/>
          </a:xfrm>
          <a:prstGeom prst="line">
            <a:avLst/>
          </a:prstGeom>
          <a:ln w="12700">
            <a:solidFill>
              <a:schemeClr val="accent5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C284840-7944-4AB4-8B85-32C0F7817045}"/>
              </a:ext>
            </a:extLst>
          </p:cNvPr>
          <p:cNvGrpSpPr/>
          <p:nvPr/>
        </p:nvGrpSpPr>
        <p:grpSpPr>
          <a:xfrm>
            <a:off x="1690910" y="2102326"/>
            <a:ext cx="368957" cy="368957"/>
            <a:chOff x="1953414" y="1938391"/>
            <a:chExt cx="368957" cy="368957"/>
          </a:xfrm>
        </p:grpSpPr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B216DA18-AFB1-4A5F-A578-B27BB84FD6E4}"/>
                </a:ext>
              </a:extLst>
            </p:cNvPr>
            <p:cNvSpPr/>
            <p:nvPr/>
          </p:nvSpPr>
          <p:spPr>
            <a:xfrm>
              <a:off x="1953414" y="1938391"/>
              <a:ext cx="368957" cy="368957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86BE5FE-F10E-498B-92F6-BEE66B8C3D3A}"/>
                </a:ext>
              </a:extLst>
            </p:cNvPr>
            <p:cNvSpPr txBox="1"/>
            <p:nvPr/>
          </p:nvSpPr>
          <p:spPr>
            <a:xfrm>
              <a:off x="1953414" y="1984369"/>
              <a:ext cx="367048" cy="27699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ja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56F54950-3115-49CD-B314-AAE26C4F6EF1}"/>
              </a:ext>
            </a:extLst>
          </p:cNvPr>
          <p:cNvGrpSpPr/>
          <p:nvPr/>
        </p:nvGrpSpPr>
        <p:grpSpPr>
          <a:xfrm>
            <a:off x="1690910" y="3465512"/>
            <a:ext cx="368957" cy="368957"/>
            <a:chOff x="1953414" y="1938391"/>
            <a:chExt cx="368957" cy="368957"/>
          </a:xfrm>
        </p:grpSpPr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621D311E-50E6-4B1B-909D-7F278D98E14D}"/>
                </a:ext>
              </a:extLst>
            </p:cNvPr>
            <p:cNvSpPr/>
            <p:nvPr/>
          </p:nvSpPr>
          <p:spPr>
            <a:xfrm>
              <a:off x="1953414" y="1938391"/>
              <a:ext cx="368957" cy="368957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D6F67090-E77B-4EAC-ADD7-199C1213B407}"/>
                </a:ext>
              </a:extLst>
            </p:cNvPr>
            <p:cNvSpPr txBox="1"/>
            <p:nvPr/>
          </p:nvSpPr>
          <p:spPr>
            <a:xfrm>
              <a:off x="1953414" y="1984369"/>
              <a:ext cx="367048" cy="27699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ja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A1749EA8-B1C0-4C83-B71D-7C4E42C685F3}"/>
              </a:ext>
            </a:extLst>
          </p:cNvPr>
          <p:cNvGrpSpPr/>
          <p:nvPr/>
        </p:nvGrpSpPr>
        <p:grpSpPr>
          <a:xfrm>
            <a:off x="1690910" y="4779702"/>
            <a:ext cx="368957" cy="368957"/>
            <a:chOff x="1953414" y="1938391"/>
            <a:chExt cx="368957" cy="368957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06E2D8B-1E48-4D57-B09A-9E2FADEC0810}"/>
                </a:ext>
              </a:extLst>
            </p:cNvPr>
            <p:cNvSpPr/>
            <p:nvPr/>
          </p:nvSpPr>
          <p:spPr>
            <a:xfrm>
              <a:off x="1953414" y="1938391"/>
              <a:ext cx="368957" cy="368957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6F337A71-2D5A-442D-B069-F74D73811BBB}"/>
                </a:ext>
              </a:extLst>
            </p:cNvPr>
            <p:cNvSpPr txBox="1"/>
            <p:nvPr/>
          </p:nvSpPr>
          <p:spPr>
            <a:xfrm>
              <a:off x="1953414" y="1984369"/>
              <a:ext cx="367048" cy="27699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ja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248E63B-A16E-4F05-839C-13C475078E2E}"/>
              </a:ext>
            </a:extLst>
          </p:cNvPr>
          <p:cNvGrpSpPr/>
          <p:nvPr/>
        </p:nvGrpSpPr>
        <p:grpSpPr>
          <a:xfrm>
            <a:off x="4730774" y="1686196"/>
            <a:ext cx="484222" cy="368957"/>
            <a:chOff x="4681771" y="1800791"/>
            <a:chExt cx="484222" cy="368957"/>
          </a:xfrm>
        </p:grpSpPr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AA60EC1E-2D06-44F0-BAA5-540921CB9439}"/>
                </a:ext>
              </a:extLst>
            </p:cNvPr>
            <p:cNvSpPr/>
            <p:nvPr/>
          </p:nvSpPr>
          <p:spPr>
            <a:xfrm>
              <a:off x="4739404" y="1800791"/>
              <a:ext cx="368957" cy="368957"/>
            </a:xfrm>
            <a:prstGeom prst="ellipse">
              <a:avLst/>
            </a:prstGeom>
            <a:solidFill>
              <a:schemeClr val="accent3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60B99CA7-13D8-475F-8AE7-617B78F68D05}"/>
                </a:ext>
              </a:extLst>
            </p:cNvPr>
            <p:cNvSpPr txBox="1"/>
            <p:nvPr/>
          </p:nvSpPr>
          <p:spPr>
            <a:xfrm>
              <a:off x="4681771" y="1846769"/>
              <a:ext cx="484222" cy="27699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nee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7FAA7B39-288F-4C1B-8C2B-8D0C93ABAAB7}"/>
              </a:ext>
            </a:extLst>
          </p:cNvPr>
          <p:cNvGrpSpPr/>
          <p:nvPr/>
        </p:nvGrpSpPr>
        <p:grpSpPr>
          <a:xfrm>
            <a:off x="4730774" y="2936829"/>
            <a:ext cx="484222" cy="368957"/>
            <a:chOff x="4681771" y="1800791"/>
            <a:chExt cx="484222" cy="368957"/>
          </a:xfrm>
        </p:grpSpPr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B972A77C-CA4F-4A01-B746-42659E183B9A}"/>
                </a:ext>
              </a:extLst>
            </p:cNvPr>
            <p:cNvSpPr/>
            <p:nvPr/>
          </p:nvSpPr>
          <p:spPr>
            <a:xfrm>
              <a:off x="4739404" y="1800791"/>
              <a:ext cx="368957" cy="368957"/>
            </a:xfrm>
            <a:prstGeom prst="ellipse">
              <a:avLst/>
            </a:prstGeom>
            <a:solidFill>
              <a:schemeClr val="accent3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E89F65B0-CFFB-4F6D-BCFC-ACFBC1F7C54C}"/>
                </a:ext>
              </a:extLst>
            </p:cNvPr>
            <p:cNvSpPr txBox="1"/>
            <p:nvPr/>
          </p:nvSpPr>
          <p:spPr>
            <a:xfrm>
              <a:off x="4681771" y="1846769"/>
              <a:ext cx="484222" cy="27699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nee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245A34BF-2DBC-4F4F-B689-0FAF6032DBE0}"/>
              </a:ext>
            </a:extLst>
          </p:cNvPr>
          <p:cNvGrpSpPr/>
          <p:nvPr/>
        </p:nvGrpSpPr>
        <p:grpSpPr>
          <a:xfrm>
            <a:off x="4730774" y="4272938"/>
            <a:ext cx="484222" cy="368957"/>
            <a:chOff x="4681771" y="1800791"/>
            <a:chExt cx="484222" cy="368957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176D1EBB-EDA8-4EA1-BFBE-B034D120D227}"/>
                </a:ext>
              </a:extLst>
            </p:cNvPr>
            <p:cNvSpPr/>
            <p:nvPr/>
          </p:nvSpPr>
          <p:spPr>
            <a:xfrm>
              <a:off x="4739404" y="1800791"/>
              <a:ext cx="368957" cy="368957"/>
            </a:xfrm>
            <a:prstGeom prst="ellipse">
              <a:avLst/>
            </a:prstGeom>
            <a:solidFill>
              <a:schemeClr val="accent3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A4D89129-4E0E-4A61-BA30-C70B0B0110B8}"/>
                </a:ext>
              </a:extLst>
            </p:cNvPr>
            <p:cNvSpPr txBox="1"/>
            <p:nvPr/>
          </p:nvSpPr>
          <p:spPr>
            <a:xfrm>
              <a:off x="4681771" y="1846769"/>
              <a:ext cx="484222" cy="276999"/>
            </a:xfrm>
            <a:prstGeom prst="rect">
              <a:avLst/>
            </a:prstGeom>
            <a:noFill/>
          </p:spPr>
          <p:txBody>
            <a:bodyPr wrap="square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nee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1DDC9D66-681D-4100-A9CB-1BAE5E420024}"/>
              </a:ext>
            </a:extLst>
          </p:cNvPr>
          <p:cNvGrpSpPr/>
          <p:nvPr/>
        </p:nvGrpSpPr>
        <p:grpSpPr>
          <a:xfrm>
            <a:off x="8329935" y="2203987"/>
            <a:ext cx="3452271" cy="2437908"/>
            <a:chOff x="6369059" y="2073150"/>
            <a:chExt cx="3452271" cy="2437908"/>
          </a:xfrm>
        </p:grpSpPr>
        <p:pic>
          <p:nvPicPr>
            <p:cNvPr id="50" name="Picture 49">
              <a:extLst>
                <a:ext uri="{FF2B5EF4-FFF2-40B4-BE49-F238E27FC236}">
                  <a16:creationId xmlns:a16="http://schemas.microsoft.com/office/drawing/2014/main" id="{F406DE0A-87DF-4DA0-9D48-38232C797DD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69059" y="2073150"/>
              <a:ext cx="3452271" cy="2437908"/>
            </a:xfrm>
            <a:prstGeom prst="rect">
              <a:avLst/>
            </a:prstGeom>
          </p:spPr>
        </p:pic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0E8FC71B-36BF-4608-80BB-C4714B83CF35}"/>
                </a:ext>
              </a:extLst>
            </p:cNvPr>
            <p:cNvSpPr txBox="1"/>
            <p:nvPr/>
          </p:nvSpPr>
          <p:spPr>
            <a:xfrm>
              <a:off x="6824831" y="2873010"/>
              <a:ext cx="2540725" cy="9233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1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nl-NL" sz="2000" b="0" i="0" u="none" strike="noStrike" kern="1200" cap="none" spc="-1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/>
                  <a:ea typeface="Lato regular"/>
                  <a:cs typeface="+mn-cs"/>
                </a:rPr>
                <a:t>Welk symptoom leidt  het vaakst tot palliatieve sedatie?</a:t>
              </a:r>
              <a:endParaRPr kumimoji="0" lang="en-GB" sz="200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/>
                <a:ea typeface="Lato regular"/>
                <a:cs typeface="+mn-cs"/>
              </a:endParaRPr>
            </a:p>
          </p:txBody>
        </p:sp>
      </p:grpSp>
      <p:sp>
        <p:nvSpPr>
          <p:cNvPr id="52" name="TextBox 51">
            <a:extLst>
              <a:ext uri="{FF2B5EF4-FFF2-40B4-BE49-F238E27FC236}">
                <a16:creationId xmlns:a16="http://schemas.microsoft.com/office/drawing/2014/main" id="{7EE20FD6-FED2-4B64-9021-4F8352DB4073}"/>
              </a:ext>
            </a:extLst>
          </p:cNvPr>
          <p:cNvSpPr txBox="1"/>
          <p:nvPr/>
        </p:nvSpPr>
        <p:spPr>
          <a:xfrm>
            <a:off x="8332795" y="4729937"/>
            <a:ext cx="344941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Vraag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3</a:t>
            </a: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6612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14EF67-0311-45D2-A883-6B7F146BB2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Veel</a:t>
            </a:r>
            <a:r>
              <a:rPr lang="en-US" dirty="0"/>
              <a:t> </a:t>
            </a:r>
            <a:r>
              <a:rPr lang="en-US" dirty="0" err="1"/>
              <a:t>voorkomende</a:t>
            </a:r>
            <a:r>
              <a:rPr lang="en-US" dirty="0"/>
              <a:t> (</a:t>
            </a:r>
            <a:r>
              <a:rPr lang="en-US" dirty="0" err="1"/>
              <a:t>refractaire</a:t>
            </a:r>
            <a:r>
              <a:rPr lang="en-US" dirty="0"/>
              <a:t>) </a:t>
            </a:r>
            <a:r>
              <a:rPr lang="en-US" dirty="0" err="1"/>
              <a:t>symptomen</a:t>
            </a:r>
            <a:endParaRPr lang="ru-RU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3CB0E350-7FCC-41B9-B1C8-2ADFC9428B2F}"/>
              </a:ext>
            </a:extLst>
          </p:cNvPr>
          <p:cNvGraphicFramePr/>
          <p:nvPr/>
        </p:nvGraphicFramePr>
        <p:xfrm>
          <a:off x="371476" y="1449389"/>
          <a:ext cx="7512049" cy="43772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47C5EA58-10C6-4250-B117-FA5E30DE88B6}"/>
              </a:ext>
            </a:extLst>
          </p:cNvPr>
          <p:cNvSpPr txBox="1"/>
          <p:nvPr/>
        </p:nvSpPr>
        <p:spPr>
          <a:xfrm>
            <a:off x="10197368" y="6095644"/>
            <a:ext cx="4537075" cy="2308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900" b="0" i="1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Rietjens JAC </a:t>
            </a:r>
            <a:r>
              <a:rPr kumimoji="0" lang="nl-NL" sz="900" b="0" i="1" u="none" strike="noStrike" kern="1200" cap="none" spc="0" normalizeH="0" baseline="0" noProof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et al</a:t>
            </a:r>
            <a:endParaRPr kumimoji="0" lang="nl-NL" sz="900" b="0" i="1" u="none" strike="noStrike" kern="1200" cap="none" spc="0" normalizeH="0" baseline="0" noProof="0" dirty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6BBCD93-E7DC-4A0E-8ECD-56A9DDABB499}"/>
              </a:ext>
            </a:extLst>
          </p:cNvPr>
          <p:cNvSpPr txBox="1"/>
          <p:nvPr/>
        </p:nvSpPr>
        <p:spPr>
          <a:xfrm>
            <a:off x="8781815" y="1704901"/>
            <a:ext cx="3038710" cy="560795"/>
          </a:xfrm>
          <a:prstGeom prst="rect">
            <a:avLst/>
          </a:prstGeom>
          <a:noFill/>
        </p:spPr>
        <p:txBody>
          <a:bodyPr wrap="square" lIns="10800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1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Vaak optelsom = </a:t>
            </a:r>
            <a:br>
              <a:rPr kumimoji="0" lang="nl-NL" sz="1600" b="1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600" b="1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refractair syndroom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D9A87904-2A32-44A0-88FE-B680524EA4F8}"/>
              </a:ext>
            </a:extLst>
          </p:cNvPr>
          <p:cNvSpPr/>
          <p:nvPr/>
        </p:nvSpPr>
        <p:spPr>
          <a:xfrm>
            <a:off x="8245475" y="1717129"/>
            <a:ext cx="536340" cy="53634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2289040-363B-4956-A646-B0EEA85A9157}"/>
              </a:ext>
            </a:extLst>
          </p:cNvPr>
          <p:cNvSpPr txBox="1"/>
          <p:nvPr/>
        </p:nvSpPr>
        <p:spPr>
          <a:xfrm>
            <a:off x="8794171" y="2614686"/>
            <a:ext cx="3038710" cy="357662"/>
          </a:xfrm>
          <a:prstGeom prst="rect">
            <a:avLst/>
          </a:prstGeom>
          <a:noFill/>
        </p:spPr>
        <p:txBody>
          <a:bodyPr wrap="square" lIns="108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1" i="0" u="none" strike="noStrike" kern="1200" cap="none" spc="0" normalizeH="0" baseline="0" noProof="0">
                <a:ln>
                  <a:noFill/>
                </a:ln>
                <a:solidFill>
                  <a:srgbClr val="F18A55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Existentiëel </a:t>
            </a:r>
            <a:r>
              <a:rPr kumimoji="0" lang="nl-NL" sz="1600" b="1" i="0" u="none" strike="noStrike" kern="1200" cap="none" spc="0" normalizeH="0" baseline="0" noProof="0" dirty="0">
                <a:ln>
                  <a:noFill/>
                </a:ln>
                <a:solidFill>
                  <a:srgbClr val="F18A55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lijden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83C92418-C0D7-4D90-9313-77D6674D2F0C}"/>
              </a:ext>
            </a:extLst>
          </p:cNvPr>
          <p:cNvSpPr/>
          <p:nvPr/>
        </p:nvSpPr>
        <p:spPr>
          <a:xfrm>
            <a:off x="8245475" y="2525347"/>
            <a:ext cx="536340" cy="53634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A39DD9C-ABED-4F8A-9F05-7CE800073D5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413015" y="1859299"/>
            <a:ext cx="201261" cy="25200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8457B3A4-30E7-4F98-BC20-C901E5C02CB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99244" y="2631517"/>
            <a:ext cx="241158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949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DAB378-E020-4135-8510-D5EDE8A159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Vier</a:t>
            </a:r>
            <a:r>
              <a:rPr lang="en-US" dirty="0"/>
              <a:t> </a:t>
            </a:r>
            <a:r>
              <a:rPr lang="en-US" dirty="0" err="1"/>
              <a:t>dimensionele</a:t>
            </a:r>
            <a:r>
              <a:rPr lang="en-US" dirty="0"/>
              <a:t> </a:t>
            </a:r>
            <a:r>
              <a:rPr lang="en-US" dirty="0" err="1"/>
              <a:t>zorg</a:t>
            </a:r>
            <a:br>
              <a:rPr lang="en-US"/>
            </a:br>
            <a:br>
              <a:rPr lang="en-US" dirty="0">
                <a:solidFill>
                  <a:schemeClr val="accent6"/>
                </a:solidFill>
                <a:latin typeface="EB Garamond" panose="00000500000000000000" pitchFamily="2" charset="0"/>
                <a:ea typeface="EB Garamond" panose="00000500000000000000" pitchFamily="2" charset="0"/>
              </a:rPr>
            </a:br>
            <a:endParaRPr lang="ru-RU" dirty="0">
              <a:solidFill>
                <a:schemeClr val="accent6"/>
              </a:solidFill>
              <a:latin typeface="EB Garamond" panose="00000500000000000000" pitchFamily="2" charset="0"/>
              <a:ea typeface="EB Garamond" panose="00000500000000000000" pitchFamily="2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4D54491C-5387-49F7-A83E-79BF0F252F6F}"/>
              </a:ext>
            </a:extLst>
          </p:cNvPr>
          <p:cNvGrpSpPr/>
          <p:nvPr/>
        </p:nvGrpSpPr>
        <p:grpSpPr>
          <a:xfrm>
            <a:off x="3359407" y="1449388"/>
            <a:ext cx="5473186" cy="4705857"/>
            <a:chOff x="3359407" y="1449388"/>
            <a:chExt cx="5473186" cy="4705857"/>
          </a:xfrm>
        </p:grpSpPr>
        <p:pic>
          <p:nvPicPr>
            <p:cNvPr id="4" name="Graphic 3">
              <a:extLst>
                <a:ext uri="{FF2B5EF4-FFF2-40B4-BE49-F238E27FC236}">
                  <a16:creationId xmlns:a16="http://schemas.microsoft.com/office/drawing/2014/main" id="{2E2B4A7F-1636-4976-95D2-A5EDD2F7829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3902720" y="1449388"/>
              <a:ext cx="4386560" cy="4328842"/>
            </a:xfrm>
            <a:prstGeom prst="rect">
              <a:avLst/>
            </a:prstGeom>
          </p:spPr>
        </p:pic>
        <p:sp>
          <p:nvSpPr>
            <p:cNvPr id="5" name="TextBox 32">
              <a:extLst>
                <a:ext uri="{FF2B5EF4-FFF2-40B4-BE49-F238E27FC236}">
                  <a16:creationId xmlns:a16="http://schemas.microsoft.com/office/drawing/2014/main" id="{25638357-D64E-4B0B-80E0-4A8BE90545B3}"/>
                </a:ext>
              </a:extLst>
            </p:cNvPr>
            <p:cNvSpPr/>
            <p:nvPr/>
          </p:nvSpPr>
          <p:spPr>
            <a:xfrm>
              <a:off x="3359407" y="3000628"/>
              <a:ext cx="2146320" cy="33710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0" i="0" u="none" strike="noStrike" kern="1200" cap="none" spc="-1" normalizeH="0" baseline="0" noProof="0" dirty="0">
                  <a:ln>
                    <a:noFill/>
                  </a:ln>
                  <a:solidFill>
                    <a:srgbClr val="484240"/>
                  </a:solidFill>
                  <a:effectLst/>
                  <a:uLnTx/>
                  <a:uFillTx/>
                  <a:latin typeface="Lato"/>
                  <a:ea typeface="DejaVu Sans"/>
                  <a:cs typeface="+mn-cs"/>
                </a:rPr>
                <a:t>psychisch</a:t>
              </a:r>
              <a:endParaRPr kumimoji="0" lang="nl-NL" sz="160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6" name="TextBox 32">
              <a:extLst>
                <a:ext uri="{FF2B5EF4-FFF2-40B4-BE49-F238E27FC236}">
                  <a16:creationId xmlns:a16="http://schemas.microsoft.com/office/drawing/2014/main" id="{1F176988-A204-47F0-A1B8-0C5BCD51133D}"/>
                </a:ext>
              </a:extLst>
            </p:cNvPr>
            <p:cNvSpPr/>
            <p:nvPr/>
          </p:nvSpPr>
          <p:spPr>
            <a:xfrm>
              <a:off x="6686273" y="3000628"/>
              <a:ext cx="2146320" cy="33710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0" i="0" u="none" strike="noStrike" kern="1200" cap="none" spc="-1" normalizeH="0" baseline="0" noProof="0" dirty="0">
                  <a:ln>
                    <a:noFill/>
                  </a:ln>
                  <a:solidFill>
                    <a:srgbClr val="484240"/>
                  </a:solidFill>
                  <a:effectLst/>
                  <a:uLnTx/>
                  <a:uFillTx/>
                  <a:latin typeface="Lato"/>
                  <a:ea typeface="DejaVu Sans"/>
                  <a:cs typeface="+mn-cs"/>
                </a:rPr>
                <a:t>sociaal</a:t>
              </a:r>
              <a:endParaRPr kumimoji="0" lang="nl-NL" sz="160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" name="TextBox 32">
              <a:extLst>
                <a:ext uri="{FF2B5EF4-FFF2-40B4-BE49-F238E27FC236}">
                  <a16:creationId xmlns:a16="http://schemas.microsoft.com/office/drawing/2014/main" id="{2458FFCB-50F9-4747-9925-2E2B2BC602B5}"/>
                </a:ext>
              </a:extLst>
            </p:cNvPr>
            <p:cNvSpPr/>
            <p:nvPr/>
          </p:nvSpPr>
          <p:spPr>
            <a:xfrm>
              <a:off x="5022840" y="5818145"/>
              <a:ext cx="2146320" cy="33710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0" i="0" u="none" strike="noStrike" kern="1200" cap="none" spc="-1" normalizeH="0" baseline="0" noProof="0" dirty="0">
                  <a:ln>
                    <a:noFill/>
                  </a:ln>
                  <a:solidFill>
                    <a:srgbClr val="484240"/>
                  </a:solidFill>
                  <a:effectLst/>
                  <a:uLnTx/>
                  <a:uFillTx/>
                  <a:latin typeface="Lato"/>
                  <a:ea typeface="DejaVu Sans"/>
                  <a:cs typeface="+mn-cs"/>
                </a:rPr>
                <a:t>lichamelijk</a:t>
              </a:r>
              <a:endParaRPr kumimoji="0" lang="nl-NL" sz="160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8" name="TextBox 32">
              <a:extLst>
                <a:ext uri="{FF2B5EF4-FFF2-40B4-BE49-F238E27FC236}">
                  <a16:creationId xmlns:a16="http://schemas.microsoft.com/office/drawing/2014/main" id="{23F55317-AE2B-4ACE-BE8E-991CE49AA919}"/>
                </a:ext>
              </a:extLst>
            </p:cNvPr>
            <p:cNvSpPr/>
            <p:nvPr/>
          </p:nvSpPr>
          <p:spPr>
            <a:xfrm>
              <a:off x="5022840" y="3963405"/>
              <a:ext cx="2146320" cy="33710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1200" cap="none" spc="-1" normalizeH="0" baseline="0" noProof="0" dirty="0">
                  <a:ln>
                    <a:noFill/>
                  </a:ln>
                  <a:solidFill>
                    <a:srgbClr val="484240"/>
                  </a:solidFill>
                  <a:effectLst/>
                  <a:uLnTx/>
                  <a:uFillTx/>
                  <a:latin typeface="Lato"/>
                  <a:ea typeface="DejaVu Sans"/>
                  <a:cs typeface="+mn-cs"/>
                </a:rPr>
                <a:t>spiritueel</a:t>
              </a:r>
              <a:endParaRPr kumimoji="0" lang="nl-NL" sz="1600" b="1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9" name="TextBox 8">
            <a:extLst>
              <a:ext uri="{FF2B5EF4-FFF2-40B4-BE49-F238E27FC236}">
                <a16:creationId xmlns:a16="http://schemas.microsoft.com/office/drawing/2014/main" id="{02C65359-656B-44C9-92EE-9409724E6E7B}"/>
              </a:ext>
            </a:extLst>
          </p:cNvPr>
          <p:cNvSpPr txBox="1"/>
          <p:nvPr/>
        </p:nvSpPr>
        <p:spPr>
          <a:xfrm>
            <a:off x="8289280" y="4888968"/>
            <a:ext cx="3571875" cy="116004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72000" tIns="72000" rIns="72000" bIns="72000" numCol="1" spcCol="360000">
            <a:spAutoFit/>
          </a:bodyPr>
          <a:lstStyle/>
          <a:p>
            <a:pPr marL="360" marR="0" lvl="0" indent="0" algn="l" defTabSz="914400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1" i="0" u="none" strike="noStrike" kern="1200" cap="none" spc="-1" normalizeH="0" baseline="0" noProof="0" dirty="0">
                <a:ln>
                  <a:noFill/>
                </a:ln>
                <a:solidFill>
                  <a:srgbClr val="769D94"/>
                </a:solidFill>
                <a:effectLst/>
                <a:uLnTx/>
                <a:uFillTx/>
                <a:latin typeface="Lato"/>
                <a:ea typeface="Lato"/>
                <a:cs typeface="+mn-cs"/>
              </a:rPr>
              <a:t>Aanbeveling: </a:t>
            </a:r>
          </a:p>
          <a:p>
            <a:pPr marL="360" marR="0" lvl="0" indent="0" algn="l" defTabSz="914400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0" i="0" u="none" strike="noStrike" kern="1200" cap="none" spc="-1" normalizeH="0" baseline="0" noProof="0">
                <a:ln>
                  <a:noFill/>
                </a:ln>
                <a:solidFill>
                  <a:srgbClr val="201E1F"/>
                </a:solidFill>
                <a:effectLst/>
                <a:uLnTx/>
                <a:uFillTx/>
                <a:latin typeface="Lato"/>
                <a:ea typeface="Lato"/>
                <a:cs typeface="+mn-cs"/>
              </a:rPr>
              <a:t>Bij existentiëel </a:t>
            </a:r>
            <a:r>
              <a:rPr kumimoji="0" lang="nl-NL" sz="1600" b="0" i="0" u="none" strike="noStrike" kern="1200" cap="none" spc="-1" normalizeH="0" baseline="0" noProof="0" dirty="0">
                <a:ln>
                  <a:noFill/>
                </a:ln>
                <a:solidFill>
                  <a:srgbClr val="201E1F"/>
                </a:solidFill>
                <a:effectLst/>
                <a:uLnTx/>
                <a:uFillTx/>
                <a:latin typeface="Lato"/>
                <a:ea typeface="Lato"/>
                <a:cs typeface="+mn-cs"/>
              </a:rPr>
              <a:t>lijden als refractair symptoom </a:t>
            </a:r>
            <a:r>
              <a:rPr kumimoji="0" lang="nl-NL" sz="1600" b="0" i="0" u="none" strike="noStrike" kern="1200" cap="none" spc="-1" normalizeH="0" baseline="0" noProof="0">
                <a:ln>
                  <a:noFill/>
                </a:ln>
                <a:solidFill>
                  <a:srgbClr val="201E1F"/>
                </a:solidFill>
                <a:effectLst/>
                <a:uLnTx/>
                <a:uFillTx/>
                <a:latin typeface="Lato"/>
                <a:ea typeface="Lato"/>
                <a:cs typeface="+mn-cs"/>
              </a:rPr>
              <a:t>dient een geestelijk </a:t>
            </a:r>
            <a:r>
              <a:rPr kumimoji="0" lang="nl-NL" sz="1600" b="0" i="0" u="none" strike="noStrike" kern="1200" cap="none" spc="-1" normalizeH="0" baseline="0" noProof="0" dirty="0">
                <a:ln>
                  <a:noFill/>
                </a:ln>
                <a:solidFill>
                  <a:srgbClr val="201E1F"/>
                </a:solidFill>
                <a:effectLst/>
                <a:uLnTx/>
                <a:uFillTx/>
                <a:latin typeface="Lato"/>
                <a:ea typeface="Lato"/>
                <a:cs typeface="+mn-cs"/>
              </a:rPr>
              <a:t>verzorger betrokken te zijn</a:t>
            </a:r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4271231B-43D6-FB27-5B1F-B14C6B8AE5B4}"/>
              </a:ext>
            </a:extLst>
          </p:cNvPr>
          <p:cNvSpPr txBox="1"/>
          <p:nvPr/>
        </p:nvSpPr>
        <p:spPr>
          <a:xfrm>
            <a:off x="8832593" y="6322640"/>
            <a:ext cx="4537075" cy="2308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900" b="0" i="1" u="none" strike="noStrike" kern="1200" cap="none" spc="0" normalizeH="0" baseline="0" noProof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figuur uit richtlijn zingeving en spiritualitieit in de pallatieve fase</a:t>
            </a:r>
            <a:endParaRPr kumimoji="0" lang="nl-NL" sz="900" b="0" i="1" u="none" strike="noStrike" kern="1200" cap="none" spc="0" normalizeH="0" baseline="0" noProof="0" dirty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6404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58D40E-3B3B-447E-A483-3F5DCF7543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Om video te starte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33EC8C9-6D9B-434F-88DB-D77A03AB948F}"/>
              </a:ext>
            </a:extLst>
          </p:cNvPr>
          <p:cNvSpPr/>
          <p:nvPr/>
        </p:nvSpPr>
        <p:spPr>
          <a:xfrm>
            <a:off x="2052798" y="1531627"/>
            <a:ext cx="8173709" cy="4597711"/>
          </a:xfrm>
          <a:prstGeom prst="rect">
            <a:avLst/>
          </a:prstGeom>
          <a:solidFill>
            <a:srgbClr val="EEE8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6E8F115-2210-4EC2-9B30-359CD9E92A0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614494" y="1449388"/>
            <a:ext cx="252000" cy="252000"/>
          </a:xfrm>
          <a:prstGeom prst="rect">
            <a:avLst/>
          </a:prstGeom>
        </p:spPr>
      </p:pic>
      <p:pic>
        <p:nvPicPr>
          <p:cNvPr id="9" name="James â Moving On (Official Video)">
            <a:hlinkClick r:id="" action="ppaction://media"/>
            <a:extLst>
              <a:ext uri="{FF2B5EF4-FFF2-40B4-BE49-F238E27FC236}">
                <a16:creationId xmlns:a16="http://schemas.microsoft.com/office/drawing/2014/main" id="{19FA8A00-E9D6-43DD-B49E-C68F537DCFEC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1978583" y="1449899"/>
            <a:ext cx="8172800" cy="459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7847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3445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 fullScrn="1"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9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9"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282667-71EF-420E-B148-627AFD071C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ru-RU" dirty="0"/>
          </a:p>
        </p:txBody>
      </p:sp>
      <p:sp>
        <p:nvSpPr>
          <p:cNvPr id="3" name="Rectangle 2">
            <a:hlinkClick r:id="" action="ppaction://noaction"/>
            <a:extLst>
              <a:ext uri="{FF2B5EF4-FFF2-40B4-BE49-F238E27FC236}">
                <a16:creationId xmlns:a16="http://schemas.microsoft.com/office/drawing/2014/main" id="{979A8A35-829A-4AB5-BAB3-64D778E6C91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35085" y="1449388"/>
            <a:ext cx="1668727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Achtergrond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</a:p>
        </p:txBody>
      </p:sp>
      <p:sp>
        <p:nvSpPr>
          <p:cNvPr id="4" name="Rectangle 3">
            <a:hlinkClick r:id="rId22" action="ppaction://hlinksldjump"/>
            <a:extLst>
              <a:ext uri="{FF2B5EF4-FFF2-40B4-BE49-F238E27FC236}">
                <a16:creationId xmlns:a16="http://schemas.microsoft.com/office/drawing/2014/main" id="{4ED52BB0-8BEB-473E-9AE4-6B18D951B04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71475" y="1449388"/>
            <a:ext cx="400110" cy="40011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1</a:t>
            </a:r>
          </a:p>
        </p:txBody>
      </p:sp>
      <p:sp>
        <p:nvSpPr>
          <p:cNvPr id="5" name="Rectangle 4">
            <a:hlinkClick r:id="" action="ppaction://noaction"/>
            <a:extLst>
              <a:ext uri="{FF2B5EF4-FFF2-40B4-BE49-F238E27FC236}">
                <a16:creationId xmlns:a16="http://schemas.microsoft.com/office/drawing/2014/main" id="{CB257035-02EF-4D0A-B788-C9157438BF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35086" y="2373271"/>
            <a:ext cx="18441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efinitie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</a:p>
        </p:txBody>
      </p:sp>
      <p:sp>
        <p:nvSpPr>
          <p:cNvPr id="6" name="Rectangle 5">
            <a:hlinkClick r:id="" action="ppaction://noaction"/>
            <a:extLst>
              <a:ext uri="{FF2B5EF4-FFF2-40B4-BE49-F238E27FC236}">
                <a16:creationId xmlns:a16="http://schemas.microsoft.com/office/drawing/2014/main" id="{3AEE79DE-3F80-49AC-8AFF-9ED659D34CA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71475" y="2373271"/>
            <a:ext cx="400110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1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.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9" name="Rectangle 8">
            <a:hlinkClick r:id="" action="ppaction://noaction"/>
            <a:extLst>
              <a:ext uri="{FF2B5EF4-FFF2-40B4-BE49-F238E27FC236}">
                <a16:creationId xmlns:a16="http://schemas.microsoft.com/office/drawing/2014/main" id="{6CA52C68-00B6-45AE-A419-C2A55143489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35086" y="1908486"/>
            <a:ext cx="18441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Cijfer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 </a:t>
            </a:r>
          </a:p>
        </p:txBody>
      </p:sp>
      <p:sp>
        <p:nvSpPr>
          <p:cNvPr id="10" name="Rectangle 9">
            <a:hlinkClick r:id="rId23" action="ppaction://hlinksldjump"/>
            <a:extLst>
              <a:ext uri="{FF2B5EF4-FFF2-40B4-BE49-F238E27FC236}">
                <a16:creationId xmlns:a16="http://schemas.microsoft.com/office/drawing/2014/main" id="{398CFDB7-1949-4132-B80E-E45F52890F8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71475" y="1908486"/>
            <a:ext cx="400110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1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.1</a:t>
            </a:r>
          </a:p>
        </p:txBody>
      </p:sp>
      <p:sp>
        <p:nvSpPr>
          <p:cNvPr id="17" name="Rectangle 16">
            <a:hlinkClick r:id="" action="ppaction://noaction"/>
            <a:extLst>
              <a:ext uri="{FF2B5EF4-FFF2-40B4-BE49-F238E27FC236}">
                <a16:creationId xmlns:a16="http://schemas.microsoft.com/office/drawing/2014/main" id="{167497C3-3705-40B3-A8AD-6E57DAEF924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35085" y="5727255"/>
            <a:ext cx="1668727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Cases </a:t>
            </a:r>
          </a:p>
        </p:txBody>
      </p:sp>
      <p:sp>
        <p:nvSpPr>
          <p:cNvPr id="18" name="Rectangle 17">
            <a:hlinkClick r:id="rId22" action="ppaction://hlinksldjump"/>
            <a:extLst>
              <a:ext uri="{FF2B5EF4-FFF2-40B4-BE49-F238E27FC236}">
                <a16:creationId xmlns:a16="http://schemas.microsoft.com/office/drawing/2014/main" id="{6689A4FF-AEB1-4171-9D2A-1F9C48EEB63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371475" y="5727255"/>
            <a:ext cx="400110" cy="40011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3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4" name="Rectangle 23">
            <a:hlinkClick r:id="" action="ppaction://noaction"/>
            <a:extLst>
              <a:ext uri="{FF2B5EF4-FFF2-40B4-BE49-F238E27FC236}">
                <a16:creationId xmlns:a16="http://schemas.microsoft.com/office/drawing/2014/main" id="{2C079603-C4D3-432F-B3C8-94B8B012CA5D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4768910" y="1449388"/>
            <a:ext cx="254629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Ervaring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naasten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5" name="Rectangle 24">
            <a:hlinkClick r:id="rId22" action="ppaction://hlinksldjump"/>
            <a:extLst>
              <a:ext uri="{FF2B5EF4-FFF2-40B4-BE49-F238E27FC236}">
                <a16:creationId xmlns:a16="http://schemas.microsoft.com/office/drawing/2014/main" id="{BD58595F-8794-4864-9789-8FD7E5C1705C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4305300" y="1449388"/>
            <a:ext cx="400110" cy="40011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4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33" name="Rectangle 32">
            <a:hlinkClick r:id="" action="ppaction://noaction"/>
            <a:extLst>
              <a:ext uri="{FF2B5EF4-FFF2-40B4-BE49-F238E27FC236}">
                <a16:creationId xmlns:a16="http://schemas.microsoft.com/office/drawing/2014/main" id="{8AA14071-21A1-4EE7-B1FC-32DBEA8EED51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4768910" y="3359102"/>
            <a:ext cx="1668727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Kernpunte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</a:p>
        </p:txBody>
      </p:sp>
      <p:sp>
        <p:nvSpPr>
          <p:cNvPr id="34" name="Rectangle 33">
            <a:hlinkClick r:id="rId22" action="ppaction://hlinksldjump"/>
            <a:extLst>
              <a:ext uri="{FF2B5EF4-FFF2-40B4-BE49-F238E27FC236}">
                <a16:creationId xmlns:a16="http://schemas.microsoft.com/office/drawing/2014/main" id="{1E50C2C1-C14F-485C-82D8-2AD918EA411C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4305300" y="3359102"/>
            <a:ext cx="400110" cy="40011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5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1" name="Rectangle 10">
            <a:hlinkClick r:id="" action="ppaction://noaction"/>
            <a:extLst>
              <a:ext uri="{FF2B5EF4-FFF2-40B4-BE49-F238E27FC236}">
                <a16:creationId xmlns:a16="http://schemas.microsoft.com/office/drawing/2014/main" id="{15A86733-AF1B-4111-A893-E4DB13ED9222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35085" y="3353518"/>
            <a:ext cx="238420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Vorme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&amp;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uitvoering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</a:p>
        </p:txBody>
      </p:sp>
      <p:sp>
        <p:nvSpPr>
          <p:cNvPr id="12" name="Rectangle 11">
            <a:hlinkClick r:id="rId22" action="ppaction://hlinksldjump"/>
            <a:extLst>
              <a:ext uri="{FF2B5EF4-FFF2-40B4-BE49-F238E27FC236}">
                <a16:creationId xmlns:a16="http://schemas.microsoft.com/office/drawing/2014/main" id="{DB65AB04-D376-4E44-AEEF-9BE89CFD1849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371475" y="3353518"/>
            <a:ext cx="400110" cy="40011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3" name="Rectangle 12">
            <a:hlinkClick r:id="" action="ppaction://noaction"/>
            <a:extLst>
              <a:ext uri="{FF2B5EF4-FFF2-40B4-BE49-F238E27FC236}">
                <a16:creationId xmlns:a16="http://schemas.microsoft.com/office/drawing/2014/main" id="{7F1D4EC3-7269-4D44-BFAF-91762276B2A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31910" y="4277401"/>
            <a:ext cx="2067651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ntermitterend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</a:p>
        </p:txBody>
      </p:sp>
      <p:sp>
        <p:nvSpPr>
          <p:cNvPr id="14" name="Rectangle 13">
            <a:hlinkClick r:id="" action="ppaction://noaction"/>
            <a:extLst>
              <a:ext uri="{FF2B5EF4-FFF2-40B4-BE49-F238E27FC236}">
                <a16:creationId xmlns:a16="http://schemas.microsoft.com/office/drawing/2014/main" id="{0C4A67A7-8E45-4BAC-B060-C39EB4697874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368300" y="4277401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.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5" name="Rectangle 14">
            <a:hlinkClick r:id="" action="ppaction://noaction"/>
            <a:extLst>
              <a:ext uri="{FF2B5EF4-FFF2-40B4-BE49-F238E27FC236}">
                <a16:creationId xmlns:a16="http://schemas.microsoft.com/office/drawing/2014/main" id="{40603682-3075-44D3-AAEF-2A0F27316280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831911" y="3812616"/>
            <a:ext cx="18441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Contin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</a:p>
        </p:txBody>
      </p:sp>
      <p:sp>
        <p:nvSpPr>
          <p:cNvPr id="16" name="Rectangle 15">
            <a:hlinkClick r:id="rId23" action="ppaction://hlinksldjump"/>
            <a:extLst>
              <a:ext uri="{FF2B5EF4-FFF2-40B4-BE49-F238E27FC236}">
                <a16:creationId xmlns:a16="http://schemas.microsoft.com/office/drawing/2014/main" id="{87F5DF6E-66E1-4E76-853D-E8EE2EB56DA0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368300" y="3812616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.1</a:t>
            </a:r>
          </a:p>
        </p:txBody>
      </p:sp>
      <p:sp>
        <p:nvSpPr>
          <p:cNvPr id="47" name="Rectangle 46">
            <a:hlinkClick r:id="" action="ppaction://noaction"/>
            <a:extLst>
              <a:ext uri="{FF2B5EF4-FFF2-40B4-BE49-F238E27FC236}">
                <a16:creationId xmlns:a16="http://schemas.microsoft.com/office/drawing/2014/main" id="{EC64A62F-6BC2-43AD-924A-DC6AF3A1C68D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831910" y="4747008"/>
            <a:ext cx="2067651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Acuu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 </a:t>
            </a:r>
          </a:p>
        </p:txBody>
      </p:sp>
      <p:sp>
        <p:nvSpPr>
          <p:cNvPr id="48" name="Rectangle 47">
            <a:hlinkClick r:id="" action="ppaction://noaction"/>
            <a:extLst>
              <a:ext uri="{FF2B5EF4-FFF2-40B4-BE49-F238E27FC236}">
                <a16:creationId xmlns:a16="http://schemas.microsoft.com/office/drawing/2014/main" id="{64A5D01F-26AC-43E7-AB7A-54DC202B7751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368300" y="4747008"/>
            <a:ext cx="400110" cy="400110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.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3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5043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81960E4-E9A9-444D-9A59-A96101AA1DD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err="1"/>
              <a:t>Vormen</a:t>
            </a:r>
            <a:r>
              <a:rPr lang="en-US" dirty="0"/>
              <a:t> van </a:t>
            </a:r>
            <a:r>
              <a:rPr lang="en-US" dirty="0" err="1"/>
              <a:t>palliatieve</a:t>
            </a:r>
            <a:r>
              <a:rPr lang="en-US" dirty="0"/>
              <a:t> </a:t>
            </a:r>
            <a:r>
              <a:rPr lang="en-US" dirty="0" err="1"/>
              <a:t>sedati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222213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9D414-F8D5-4F05-A24C-7045121EF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tinue </a:t>
            </a:r>
            <a:r>
              <a:rPr lang="en-US" dirty="0" err="1"/>
              <a:t>palliatieve</a:t>
            </a:r>
            <a:r>
              <a:rPr lang="en-US" dirty="0"/>
              <a:t> </a:t>
            </a:r>
            <a:r>
              <a:rPr lang="en-US" dirty="0" err="1"/>
              <a:t>sedatie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DC78BEC-008A-471D-8809-B226681A6FB3}"/>
              </a:ext>
            </a:extLst>
          </p:cNvPr>
          <p:cNvSpPr txBox="1"/>
          <p:nvPr/>
        </p:nvSpPr>
        <p:spPr>
          <a:xfrm>
            <a:off x="4308475" y="2268014"/>
            <a:ext cx="3575050" cy="1439625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Het opzettelijk verlagen van </a:t>
            </a:r>
            <a:b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het bewustzijn van een patiënt, </a:t>
            </a:r>
            <a:b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met als doel om lijden </a:t>
            </a:r>
            <a:b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te verlichten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B141623-A7A2-43EB-9FB1-E5FD1F0E14A9}"/>
              </a:ext>
            </a:extLst>
          </p:cNvPr>
          <p:cNvCxnSpPr>
            <a:cxnSpLocks/>
          </p:cNvCxnSpPr>
          <p:nvPr/>
        </p:nvCxnSpPr>
        <p:spPr>
          <a:xfrm>
            <a:off x="4308475" y="2138037"/>
            <a:ext cx="3575050" cy="0"/>
          </a:xfrm>
          <a:prstGeom prst="line">
            <a:avLst/>
          </a:prstGeom>
          <a:ln w="1905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6C38695D-F999-4020-B9DC-C33CF54DD2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08476" y="1423885"/>
            <a:ext cx="458015" cy="572519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94CFB70F-B09F-4699-8183-8CFB176E877A}"/>
              </a:ext>
            </a:extLst>
          </p:cNvPr>
          <p:cNvSpPr/>
          <p:nvPr/>
        </p:nvSpPr>
        <p:spPr>
          <a:xfrm>
            <a:off x="371476" y="1449338"/>
            <a:ext cx="3571200" cy="467999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D1C74978-0266-421C-9097-9F2B4C0D3622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10"/>
          <a:stretch/>
        </p:blipFill>
        <p:spPr>
          <a:xfrm>
            <a:off x="825805" y="1694137"/>
            <a:ext cx="3116872" cy="4081796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8BABA061-4668-490D-8B20-2E9CF1B248BA}"/>
              </a:ext>
            </a:extLst>
          </p:cNvPr>
          <p:cNvSpPr/>
          <p:nvPr/>
        </p:nvSpPr>
        <p:spPr>
          <a:xfrm>
            <a:off x="1061421" y="5408662"/>
            <a:ext cx="536340" cy="53634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819E9E73-EDCE-4C1F-B19B-37436D4FFBA1}"/>
              </a:ext>
            </a:extLst>
          </p:cNvPr>
          <p:cNvSpPr/>
          <p:nvPr/>
        </p:nvSpPr>
        <p:spPr>
          <a:xfrm>
            <a:off x="1805740" y="5408662"/>
            <a:ext cx="536340" cy="53634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8279D317-9635-462F-B24E-8D49BDD54B86}"/>
              </a:ext>
            </a:extLst>
          </p:cNvPr>
          <p:cNvSpPr/>
          <p:nvPr/>
        </p:nvSpPr>
        <p:spPr>
          <a:xfrm>
            <a:off x="2550058" y="5408662"/>
            <a:ext cx="536340" cy="53634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pic>
        <p:nvPicPr>
          <p:cNvPr id="29" name="Graphic 28">
            <a:extLst>
              <a:ext uri="{FF2B5EF4-FFF2-40B4-BE49-F238E27FC236}">
                <a16:creationId xmlns:a16="http://schemas.microsoft.com/office/drawing/2014/main" id="{FBEBA71E-749A-4A1F-A67D-4DFC09D800C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82811" y="5529296"/>
            <a:ext cx="306000" cy="295071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FE1A5CF3-BD2F-4731-8849-90405961FA9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911910" y="5588160"/>
            <a:ext cx="324000" cy="187773"/>
          </a:xfrm>
          <a:prstGeom prst="rect">
            <a:avLst/>
          </a:prstGeom>
        </p:spPr>
      </p:pic>
      <p:pic>
        <p:nvPicPr>
          <p:cNvPr id="31" name="Graphic 30">
            <a:extLst>
              <a:ext uri="{FF2B5EF4-FFF2-40B4-BE49-F238E27FC236}">
                <a16:creationId xmlns:a16="http://schemas.microsoft.com/office/drawing/2014/main" id="{31ADCCCD-673E-4D41-AB39-7D2BF469057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712463" y="5529296"/>
            <a:ext cx="211530" cy="306000"/>
          </a:xfrm>
          <a:prstGeom prst="rect">
            <a:avLst/>
          </a:prstGeom>
        </p:spPr>
      </p:pic>
      <p:sp>
        <p:nvSpPr>
          <p:cNvPr id="42" name="TextBox 41">
            <a:extLst>
              <a:ext uri="{FF2B5EF4-FFF2-40B4-BE49-F238E27FC236}">
                <a16:creationId xmlns:a16="http://schemas.microsoft.com/office/drawing/2014/main" id="{C532DFBA-A228-4C5D-8A2E-958D07F6126E}"/>
              </a:ext>
            </a:extLst>
          </p:cNvPr>
          <p:cNvSpPr txBox="1"/>
          <p:nvPr/>
        </p:nvSpPr>
        <p:spPr>
          <a:xfrm>
            <a:off x="4537483" y="3936986"/>
            <a:ext cx="3575050" cy="33162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000" b="1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p</a:t>
            </a:r>
            <a:r>
              <a:rPr kumimoji="0" lang="nl-NL" sz="2000" b="1" i="0" u="none" strike="noStrike" kern="1200" cap="none" spc="0" normalizeH="0" baseline="0" noProof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roportioneel </a:t>
            </a:r>
            <a:r>
              <a:rPr kumimoji="0" lang="nl-NL" sz="2000" b="1" i="1" u="none" strike="noStrike" kern="1200" cap="none" spc="0" normalizeH="0" baseline="0" noProof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vs</a:t>
            </a:r>
            <a:r>
              <a:rPr kumimoji="0" lang="nl-NL" sz="2000" b="1" i="0" u="none" strike="noStrike" kern="1200" cap="none" spc="0" normalizeH="0" baseline="0" noProof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diep</a:t>
            </a:r>
            <a:endParaRPr kumimoji="0" lang="nl-NL" sz="2000" b="1" i="0" u="none" strike="noStrike" kern="1200" cap="none" spc="0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9E069DF-48FA-4309-A5BB-AE150A3C9726}"/>
              </a:ext>
            </a:extLst>
          </p:cNvPr>
          <p:cNvSpPr txBox="1"/>
          <p:nvPr/>
        </p:nvSpPr>
        <p:spPr>
          <a:xfrm>
            <a:off x="8245475" y="3936986"/>
            <a:ext cx="3571200" cy="99179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72000" tIns="72000" rIns="72000" bIns="72000" numCol="1" spcCol="360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F5A46D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ndicatie 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5A46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Refractair symptoom dat tot ondraaglijk lijden leidt</a:t>
            </a:r>
            <a:endParaRPr kumimoji="0" lang="nl-NL" sz="1400" b="0" i="0" u="none" strike="noStrike" kern="1200" cap="none" spc="0" normalizeH="0" baseline="0" noProof="0" dirty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37129D3-2BEC-4B26-BD08-19512190FDBD}"/>
              </a:ext>
            </a:extLst>
          </p:cNvPr>
          <p:cNvSpPr txBox="1"/>
          <p:nvPr/>
        </p:nvSpPr>
        <p:spPr>
          <a:xfrm>
            <a:off x="8245475" y="2137568"/>
            <a:ext cx="3575049" cy="156117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72000" tIns="72000" rIns="72000" bIns="72000" numCol="1" spcCol="360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F5A46D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Voorwaarde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5A46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Verwacht overlijden binnen </a:t>
            </a:r>
            <a:b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 weken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5A46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Geen kunstmatige toediening van voeding en/of </a:t>
            </a: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vocht </a:t>
            </a:r>
          </a:p>
        </p:txBody>
      </p:sp>
    </p:spTree>
    <p:extLst>
      <p:ext uri="{BB962C8B-B14F-4D97-AF65-F5344CB8AC3E}">
        <p14:creationId xmlns:p14="http://schemas.microsoft.com/office/powerpoint/2010/main" val="3851721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9ACAD4-85FB-4B26-9267-6785E40984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oseringschema</a:t>
            </a:r>
            <a:endParaRPr lang="ru-RU" dirty="0"/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671C49BC-0699-47CC-82A2-6C444A95DA9F}"/>
              </a:ext>
            </a:extLst>
          </p:cNvPr>
          <p:cNvGraphicFramePr>
            <a:graphicFrameLocks noGrp="1"/>
          </p:cNvGraphicFramePr>
          <p:nvPr/>
        </p:nvGraphicFramePr>
        <p:xfrm>
          <a:off x="371473" y="1449388"/>
          <a:ext cx="11449051" cy="46535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65414">
                  <a:extLst>
                    <a:ext uri="{9D8B030D-6E8A-4147-A177-3AD203B41FA5}">
                      <a16:colId xmlns:a16="http://schemas.microsoft.com/office/drawing/2014/main" val="2801185856"/>
                    </a:ext>
                  </a:extLst>
                </a:gridCol>
                <a:gridCol w="2665414">
                  <a:extLst>
                    <a:ext uri="{9D8B030D-6E8A-4147-A177-3AD203B41FA5}">
                      <a16:colId xmlns:a16="http://schemas.microsoft.com/office/drawing/2014/main" val="4204431263"/>
                    </a:ext>
                  </a:extLst>
                </a:gridCol>
                <a:gridCol w="6118223">
                  <a:extLst>
                    <a:ext uri="{9D8B030D-6E8A-4147-A177-3AD203B41FA5}">
                      <a16:colId xmlns:a16="http://schemas.microsoft.com/office/drawing/2014/main" val="27825872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87313" indent="0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 err="1">
                          <a:solidFill>
                            <a:schemeClr val="accent2"/>
                          </a:solidFill>
                          <a:latin typeface="+mn-lt"/>
                        </a:rPr>
                        <a:t>Middel</a:t>
                      </a:r>
                      <a:endParaRPr lang="en-US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 err="1">
                          <a:solidFill>
                            <a:schemeClr val="accent2"/>
                          </a:solidFill>
                          <a:latin typeface="+mn-lt"/>
                        </a:rPr>
                        <a:t>Doseringschema</a:t>
                      </a:r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81971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252000">
                        <a:spcBef>
                          <a:spcPts val="1200"/>
                        </a:spcBef>
                      </a:pPr>
                      <a:endParaRPr lang="nl-NL" sz="10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7182594"/>
                  </a:ext>
                </a:extLst>
              </a:tr>
              <a:tr h="1432298">
                <a:tc>
                  <a:txBody>
                    <a:bodyPr/>
                    <a:lstStyle/>
                    <a:p>
                      <a:pPr marL="176213" indent="0" algn="l">
                        <a:lnSpc>
                          <a:spcPct val="100000"/>
                        </a:lnSpc>
                      </a:pPr>
                      <a:r>
                        <a:rPr lang="nl-NL" sz="1400" b="1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Stap 1</a:t>
                      </a:r>
                    </a:p>
                  </a:txBody>
                  <a:tcPr marL="4680" marR="468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0" algn="l">
                        <a:lnSpc>
                          <a:spcPct val="100000"/>
                        </a:lnSpc>
                        <a:tabLst>
                          <a:tab pos="87313" algn="l"/>
                        </a:tabLst>
                      </a:pPr>
                      <a:r>
                        <a:rPr lang="nl-NL" sz="14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idazolam</a:t>
                      </a:r>
                    </a:p>
                  </a:txBody>
                  <a:tcPr marL="4680" marR="468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0" algn="l">
                        <a:spcAft>
                          <a:spcPts val="600"/>
                        </a:spcAft>
                      </a:pPr>
                      <a:r>
                        <a:rPr lang="en-US" sz="1200" b="1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olus 5 mg 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evolgd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oor 1,5 mg/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ur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range 0,5-2,5 mg/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r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87313" indent="0" algn="l">
                        <a:spcAft>
                          <a:spcPts val="600"/>
                        </a:spcAft>
                      </a:pP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voldoende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2 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ur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bolus 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erhalen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4 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ur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continue met 50</a:t>
                      </a:r>
                      <a:r>
                        <a:rPr lang="en-US" sz="1200" b="0" strike="noStrike" kern="1200" spc="-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 ophogen</a:t>
                      </a:r>
                      <a:endParaRPr lang="en-US" sz="1200" b="0" strike="noStrike" kern="1200" spc="-1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66700" indent="-179388" algn="l"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inue ≥ 5 mg/u dan bolus 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ar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10 mg</a:t>
                      </a:r>
                    </a:p>
                    <a:p>
                      <a:pPr marL="266700" marR="0" lvl="0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inue ≥ 10 mg/u dan bolus 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ar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20 mg</a:t>
                      </a:r>
                    </a:p>
                    <a:p>
                      <a:pPr marL="266700" indent="-179388" algn="l"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≥ 20 mg/u dan 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evoegen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1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ap</a:t>
                      </a:r>
                      <a:r>
                        <a:rPr lang="en-US" sz="1200" b="0" i="1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2</a:t>
                      </a:r>
                    </a:p>
                  </a:txBody>
                  <a:tcPr marL="0" marR="10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6497305"/>
                  </a:ext>
                </a:extLst>
              </a:tr>
              <a:tr h="1748736">
                <a:tc>
                  <a:txBody>
                    <a:bodyPr/>
                    <a:lstStyle/>
                    <a:p>
                      <a:pPr marL="176213" indent="0" algn="l">
                        <a:lnSpc>
                          <a:spcPct val="100000"/>
                        </a:lnSpc>
                      </a:pPr>
                      <a:r>
                        <a:rPr lang="nl-NL" sz="1400" b="1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Stap 2</a:t>
                      </a:r>
                    </a:p>
                  </a:txBody>
                  <a:tcPr marL="3600" marR="360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731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evomepromazine</a:t>
                      </a:r>
                    </a:p>
                  </a:txBody>
                  <a:tcPr marL="4680" marR="468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7313" indent="0" algn="l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nl-NL" sz="1200" b="1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olus 50 mg</a:t>
                      </a:r>
                    </a:p>
                    <a:p>
                      <a:pPr marL="266700" indent="-179388" algn="l">
                        <a:lnSpc>
                          <a:spcPct val="100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oldoende na 6 uur: 12 uur na de start over op 25 mg 2dd1</a:t>
                      </a:r>
                      <a:b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voldoende na 6 uur: bolus van 50 mg en daarna 25 mg 4dd1</a:t>
                      </a:r>
                    </a:p>
                    <a:p>
                      <a:pPr marL="266700" marR="0" lvl="0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oldoende na 24 uur: overgaan op 50 mg 2dd1</a:t>
                      </a:r>
                      <a:b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voldoende na 24 uur: naar 75 mg 2dd1 met bolus 25 mg a 6 uur</a:t>
                      </a:r>
                    </a:p>
                    <a:p>
                      <a:pPr marL="266700" marR="0" lvl="0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oldoende na 48 uur: 75mg 2dd1</a:t>
                      </a:r>
                      <a:b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voldoende na 48 uur: naar 100 mg 2dd1 met bolus 25 mg a 6 uur</a:t>
                      </a:r>
                    </a:p>
                  </a:txBody>
                  <a:tcPr marL="0" marR="10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9616842"/>
                  </a:ext>
                </a:extLst>
              </a:tr>
              <a:tr h="893436">
                <a:tc>
                  <a:txBody>
                    <a:bodyPr/>
                    <a:lstStyle/>
                    <a:p>
                      <a:pPr marL="176213" indent="0" algn="l">
                        <a:lnSpc>
                          <a:spcPct val="100000"/>
                        </a:lnSpc>
                      </a:pPr>
                      <a:r>
                        <a:rPr lang="nl-NL" sz="1400" b="1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Stap 3</a:t>
                      </a:r>
                    </a:p>
                  </a:txBody>
                  <a:tcPr marL="3600" marR="360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731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pofol of fenobarbital</a:t>
                      </a:r>
                    </a:p>
                  </a:txBody>
                  <a:tcPr marL="4680" marR="468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66700" indent="-179388" algn="l">
                        <a:lnSpc>
                          <a:spcPct val="100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verleg altijd met een consultatieteam en/of anesthesioloog</a:t>
                      </a:r>
                    </a:p>
                    <a:p>
                      <a:pPr marL="266700" indent="-179388" algn="l">
                        <a:lnSpc>
                          <a:spcPct val="100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pofol 20-50 mg IV gevolgd door 100 mg/uur IV, evt per 5 min 20 mg IV</a:t>
                      </a:r>
                    </a:p>
                    <a:p>
                      <a:pPr marL="266700" indent="-179388" algn="l">
                        <a:lnSpc>
                          <a:spcPct val="100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enobarbital 200 mg SC gevolgd door 40 mg/uur SC, evt per 4 uur 200 mg SC</a:t>
                      </a:r>
                    </a:p>
                  </a:txBody>
                  <a:tcPr marL="0" marR="10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38652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9633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9ACAD4-85FB-4B26-9267-6785E40984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Aanpassing</a:t>
            </a:r>
            <a:r>
              <a:rPr lang="en-US" dirty="0"/>
              <a:t> in </a:t>
            </a:r>
            <a:r>
              <a:rPr lang="en-US" dirty="0" err="1"/>
              <a:t>beleid</a:t>
            </a:r>
            <a:endParaRPr lang="en-US" dirty="0"/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671C49BC-0699-47CC-82A2-6C444A95DA9F}"/>
              </a:ext>
            </a:extLst>
          </p:cNvPr>
          <p:cNvGraphicFramePr>
            <a:graphicFrameLocks noGrp="1"/>
          </p:cNvGraphicFramePr>
          <p:nvPr/>
        </p:nvGraphicFramePr>
        <p:xfrm>
          <a:off x="371476" y="1449388"/>
          <a:ext cx="7512052" cy="33185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79549">
                  <a:extLst>
                    <a:ext uri="{9D8B030D-6E8A-4147-A177-3AD203B41FA5}">
                      <a16:colId xmlns:a16="http://schemas.microsoft.com/office/drawing/2014/main" val="4204431263"/>
                    </a:ext>
                  </a:extLst>
                </a:gridCol>
                <a:gridCol w="5232503">
                  <a:extLst>
                    <a:ext uri="{9D8B030D-6E8A-4147-A177-3AD203B41FA5}">
                      <a16:colId xmlns:a16="http://schemas.microsoft.com/office/drawing/2014/main" val="27825872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lang="en-US" sz="1600" dirty="0" err="1">
                          <a:solidFill>
                            <a:schemeClr val="accent2"/>
                          </a:solidFill>
                          <a:latin typeface="+mn-lt"/>
                        </a:rPr>
                        <a:t>Situatie</a:t>
                      </a:r>
                      <a:endParaRPr lang="en-US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 err="1">
                          <a:solidFill>
                            <a:schemeClr val="accent2"/>
                          </a:solidFill>
                          <a:latin typeface="+mn-lt"/>
                        </a:rPr>
                        <a:t>Aanpassing</a:t>
                      </a:r>
                      <a:r>
                        <a:rPr lang="en-US" sz="1600" dirty="0">
                          <a:solidFill>
                            <a:schemeClr val="accent2"/>
                          </a:solidFill>
                          <a:latin typeface="+mn-lt"/>
                        </a:rPr>
                        <a:t> in </a:t>
                      </a:r>
                      <a:r>
                        <a:rPr lang="en-US" sz="1600" dirty="0" err="1">
                          <a:solidFill>
                            <a:schemeClr val="accent2"/>
                          </a:solidFill>
                          <a:latin typeface="+mn-lt"/>
                        </a:rPr>
                        <a:t>beleid</a:t>
                      </a:r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8197155"/>
                  </a:ext>
                </a:extLst>
              </a:tr>
              <a:tr h="12215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7182594"/>
                  </a:ext>
                </a:extLst>
              </a:tr>
              <a:tr h="1138146">
                <a:tc>
                  <a:txBody>
                    <a:bodyPr/>
                    <a:lstStyle/>
                    <a:p>
                      <a:pPr marL="266700" indent="-179388" algn="l">
                        <a:lnSpc>
                          <a:spcPct val="100000"/>
                        </a:lnSpc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  <a:tabLst>
                          <a:tab pos="87313" algn="l"/>
                        </a:tabLst>
                      </a:pPr>
                      <a:r>
                        <a:rPr lang="nl-NL" sz="14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&gt;60 jaar</a:t>
                      </a:r>
                    </a:p>
                    <a:p>
                      <a:pPr marL="266700" indent="-179388" algn="l">
                        <a:lnSpc>
                          <a:spcPct val="100000"/>
                        </a:lnSpc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  <a:tabLst>
                          <a:tab pos="87313" algn="l"/>
                        </a:tabLst>
                      </a:pPr>
                      <a:r>
                        <a:rPr lang="nl-NL" sz="14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&lt;60 kg</a:t>
                      </a:r>
                    </a:p>
                    <a:p>
                      <a:pPr marL="266700" indent="-179388" algn="l">
                        <a:lnSpc>
                          <a:spcPct val="100000"/>
                        </a:lnSpc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  <a:tabLst>
                          <a:tab pos="87313" algn="l"/>
                        </a:tabLst>
                      </a:pPr>
                      <a:r>
                        <a:rPr lang="nl-NL" sz="1400" b="0" strike="noStrike" kern="1200" spc="-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ever- </a:t>
                      </a:r>
                      <a:r>
                        <a:rPr lang="nl-NL" sz="14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/of nierfalen</a:t>
                      </a:r>
                    </a:p>
                    <a:p>
                      <a:pPr marL="266700" indent="-179388" algn="l">
                        <a:lnSpc>
                          <a:spcPct val="100000"/>
                        </a:lnSpc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  <a:tabLst>
                          <a:tab pos="87313" algn="l"/>
                        </a:tabLst>
                      </a:pPr>
                      <a:r>
                        <a:rPr lang="nl-NL" sz="14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YP3A remmers </a:t>
                      </a:r>
                    </a:p>
                  </a:txBody>
                  <a:tcPr marL="4680" marR="468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0" algn="l">
                        <a:spcAft>
                          <a:spcPts val="600"/>
                        </a:spcAft>
                      </a:pPr>
                      <a:r>
                        <a:rPr lang="en-US" sz="1400" b="0" strike="noStrike" kern="1200" spc="-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ve diepere </a:t>
                      </a:r>
                      <a:r>
                        <a:rPr lang="en-US" sz="14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datie</a:t>
                      </a:r>
                      <a:endParaRPr lang="en-US" sz="1400" b="0" strike="noStrike" kern="1200" spc="-1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7313" indent="0" algn="l">
                        <a:spcAft>
                          <a:spcPts val="600"/>
                        </a:spcAft>
                      </a:pPr>
                      <a:r>
                        <a:rPr lang="en-US" sz="1400" b="1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gere</a:t>
                      </a:r>
                      <a:r>
                        <a:rPr lang="en-US" sz="1400" b="1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1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sering</a:t>
                      </a:r>
                      <a:r>
                        <a:rPr lang="en-US" sz="1400" b="1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1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</a:t>
                      </a:r>
                      <a:r>
                        <a:rPr lang="en-US" sz="1400" b="1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of </a:t>
                      </a:r>
                      <a:r>
                        <a:rPr lang="en-US" sz="1400" b="1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nger</a:t>
                      </a:r>
                      <a:r>
                        <a:rPr lang="en-US" sz="1400" b="1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bolus interval</a:t>
                      </a:r>
                    </a:p>
                  </a:txBody>
                  <a:tcPr marL="0" marR="10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6497305"/>
                  </a:ext>
                </a:extLst>
              </a:tr>
              <a:tr h="1601311">
                <a:tc>
                  <a:txBody>
                    <a:bodyPr/>
                    <a:lstStyle/>
                    <a:p>
                      <a:pPr marL="266700" indent="-179388" algn="l">
                        <a:lnSpc>
                          <a:spcPct val="100000"/>
                        </a:lnSpc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  <a:tabLst>
                          <a:tab pos="87313" algn="l"/>
                        </a:tabLst>
                      </a:pPr>
                      <a:r>
                        <a:rPr lang="nl-NL" sz="1400" b="0" strike="noStrike" kern="1200" spc="-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rnstig </a:t>
                      </a:r>
                      <a:r>
                        <a:rPr lang="nl-NL" sz="14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lier</a:t>
                      </a:r>
                    </a:p>
                    <a:p>
                      <a:pPr marL="266700" indent="-179388" algn="l">
                        <a:lnSpc>
                          <a:spcPct val="100000"/>
                        </a:lnSpc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  <a:tabLst>
                          <a:tab pos="87313" algn="l"/>
                        </a:tabLst>
                      </a:pPr>
                      <a:r>
                        <a:rPr lang="nl-NL" sz="1400" b="0" strike="noStrike" kern="1200" spc="-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nelle metabolisering</a:t>
                      </a:r>
                      <a:endParaRPr lang="nl-NL" sz="1400" b="0" strike="noStrike" kern="1200" spc="-1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66700" indent="-179388" algn="l">
                        <a:lnSpc>
                          <a:spcPct val="100000"/>
                        </a:lnSpc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  <a:tabLst>
                          <a:tab pos="87313" algn="l"/>
                        </a:tabLst>
                      </a:pPr>
                      <a:r>
                        <a:rPr lang="nl-NL" sz="14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oken</a:t>
                      </a:r>
                    </a:p>
                    <a:p>
                      <a:pPr marL="266700" indent="-179388" algn="l">
                        <a:lnSpc>
                          <a:spcPct val="100000"/>
                        </a:lnSpc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  <a:tabLst>
                          <a:tab pos="87313" algn="l"/>
                        </a:tabLst>
                      </a:pPr>
                      <a:r>
                        <a:rPr lang="nl-NL" sz="14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enzodiazepine gebruik</a:t>
                      </a:r>
                    </a:p>
                    <a:p>
                      <a:pPr marL="266700" indent="-179388" algn="l">
                        <a:lnSpc>
                          <a:spcPct val="100000"/>
                        </a:lnSpc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  <a:tabLst>
                          <a:tab pos="87313" algn="l"/>
                        </a:tabLst>
                      </a:pPr>
                      <a:r>
                        <a:rPr lang="nl-NL" sz="1400" b="0" strike="noStrike" kern="1200" spc="-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YP3A stimuleerders</a:t>
                      </a:r>
                      <a:endParaRPr lang="nl-NL" sz="1400" b="0" strike="noStrike" kern="1200" spc="-1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66700" indent="-179388" algn="l">
                        <a:lnSpc>
                          <a:spcPct val="100000"/>
                        </a:lnSpc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  <a:tabLst>
                          <a:tab pos="87313" algn="l"/>
                        </a:tabLst>
                      </a:pPr>
                      <a:r>
                        <a:rPr lang="nl-NL" sz="14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oge zuurstofbehoefte</a:t>
                      </a:r>
                    </a:p>
                  </a:txBody>
                  <a:tcPr marL="4680" marR="468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7313" indent="0" algn="l">
                        <a:spcAft>
                          <a:spcPts val="600"/>
                        </a:spcAft>
                      </a:pPr>
                      <a:r>
                        <a:rPr lang="en-US" sz="1400" b="0" strike="noStrike" kern="1200" spc="-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ve verminderde </a:t>
                      </a:r>
                      <a:r>
                        <a:rPr lang="en-US" sz="14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datie</a:t>
                      </a:r>
                      <a:endParaRPr lang="en-US" sz="1400" b="0" strike="noStrike" kern="1200" spc="-1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7313" indent="0" algn="l">
                        <a:spcAft>
                          <a:spcPts val="600"/>
                        </a:spcAft>
                      </a:pPr>
                      <a:r>
                        <a:rPr lang="en-US" sz="1400" b="1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ogere</a:t>
                      </a:r>
                      <a:r>
                        <a:rPr lang="en-US" sz="1400" b="1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1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osering</a:t>
                      </a:r>
                      <a:r>
                        <a:rPr lang="en-US" sz="1400" b="1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1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</a:t>
                      </a:r>
                      <a:r>
                        <a:rPr lang="en-US" sz="1400" b="1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/of </a:t>
                      </a:r>
                      <a:r>
                        <a:rPr lang="en-US" sz="1400" b="1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orter</a:t>
                      </a:r>
                      <a:r>
                        <a:rPr lang="en-US" sz="1400" b="1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bolus interval</a:t>
                      </a:r>
                    </a:p>
                    <a:p>
                      <a:pPr marL="87313" indent="0" algn="l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endParaRPr lang="nl-NL" sz="1400" b="0" strike="noStrike" kern="1200" spc="-1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10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9616842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AE73F820-2670-460D-81ED-9875E1689757}"/>
              </a:ext>
            </a:extLst>
          </p:cNvPr>
          <p:cNvSpPr txBox="1"/>
          <p:nvPr/>
        </p:nvSpPr>
        <p:spPr>
          <a:xfrm>
            <a:off x="8781815" y="2013820"/>
            <a:ext cx="3038710" cy="560795"/>
          </a:xfrm>
          <a:prstGeom prst="rect">
            <a:avLst/>
          </a:prstGeom>
          <a:noFill/>
        </p:spPr>
        <p:txBody>
          <a:bodyPr wrap="square" lIns="10800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1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CYP remmers: </a:t>
            </a:r>
            <a:br>
              <a:rPr kumimoji="0" lang="nl-NL" sz="1600" b="1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weinig, mogelijk voriconazol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59890FFD-C1DD-4778-9157-8208AAC9BBA4}"/>
              </a:ext>
            </a:extLst>
          </p:cNvPr>
          <p:cNvGrpSpPr/>
          <p:nvPr/>
        </p:nvGrpSpPr>
        <p:grpSpPr>
          <a:xfrm>
            <a:off x="8245475" y="2026048"/>
            <a:ext cx="536340" cy="536340"/>
            <a:chOff x="8245475" y="2026048"/>
            <a:chExt cx="536340" cy="536340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01F67098-68BF-42E6-95C4-9FC38980D3F2}"/>
                </a:ext>
              </a:extLst>
            </p:cNvPr>
            <p:cNvSpPr/>
            <p:nvPr/>
          </p:nvSpPr>
          <p:spPr>
            <a:xfrm>
              <a:off x="8245475" y="2026048"/>
              <a:ext cx="536340" cy="53634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B131E92D-26C7-4B7F-904D-CE046D94600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364753" y="2141218"/>
              <a:ext cx="297785" cy="306000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BFAB6636-FD4C-4980-844D-A194184695E3}"/>
              </a:ext>
            </a:extLst>
          </p:cNvPr>
          <p:cNvGrpSpPr/>
          <p:nvPr/>
        </p:nvGrpSpPr>
        <p:grpSpPr>
          <a:xfrm>
            <a:off x="8245475" y="2775872"/>
            <a:ext cx="3575049" cy="653128"/>
            <a:chOff x="8245475" y="3250169"/>
            <a:chExt cx="3575049" cy="653128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C9557D1B-7715-4C00-84F9-17C17B1E70D3}"/>
                </a:ext>
              </a:extLst>
            </p:cNvPr>
            <p:cNvSpPr txBox="1"/>
            <p:nvPr/>
          </p:nvSpPr>
          <p:spPr>
            <a:xfrm>
              <a:off x="8781814" y="3250169"/>
              <a:ext cx="3038710" cy="653128"/>
            </a:xfrm>
            <a:prstGeom prst="rect">
              <a:avLst/>
            </a:prstGeom>
            <a:noFill/>
          </p:spPr>
          <p:txBody>
            <a:bodyPr wrap="square" lIns="10800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48424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CYP stimuleer: </a:t>
              </a:r>
              <a:r>
                <a: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48424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enzalutamide, carbamazepine, fenytoine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501C75F9-F3BC-4F57-86DA-3EA52D3D8369}"/>
                </a:ext>
              </a:extLst>
            </p:cNvPr>
            <p:cNvGrpSpPr/>
            <p:nvPr/>
          </p:nvGrpSpPr>
          <p:grpSpPr>
            <a:xfrm>
              <a:off x="8245475" y="3308563"/>
              <a:ext cx="536340" cy="536340"/>
              <a:chOff x="8245475" y="2026048"/>
              <a:chExt cx="536340" cy="536340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FD5A16EC-F047-4ED1-BA98-1CB02C85013D}"/>
                  </a:ext>
                </a:extLst>
              </p:cNvPr>
              <p:cNvSpPr/>
              <p:nvPr/>
            </p:nvSpPr>
            <p:spPr>
              <a:xfrm>
                <a:off x="8245475" y="2026048"/>
                <a:ext cx="536340" cy="536340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endParaRPr>
              </a:p>
            </p:txBody>
          </p:sp>
          <p:pic>
            <p:nvPicPr>
              <p:cNvPr id="23" name="Graphic 22">
                <a:extLst>
                  <a:ext uri="{FF2B5EF4-FFF2-40B4-BE49-F238E27FC236}">
                    <a16:creationId xmlns:a16="http://schemas.microsoft.com/office/drawing/2014/main" id="{673B6A0C-0278-4642-8183-A859D4F5D73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8364753" y="2141218"/>
                <a:ext cx="297785" cy="306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549635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3C597D-831C-4CCA-9133-56F27FB760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xtra </a:t>
            </a:r>
            <a:r>
              <a:rPr lang="en-US" dirty="0" err="1"/>
              <a:t>aanbevelingen</a:t>
            </a:r>
            <a:endParaRPr lang="ru-RU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B2065C6-AA33-49DB-8CDF-55082C8EB5C8}"/>
              </a:ext>
            </a:extLst>
          </p:cNvPr>
          <p:cNvSpPr txBox="1"/>
          <p:nvPr/>
        </p:nvSpPr>
        <p:spPr>
          <a:xfrm>
            <a:off x="376944" y="3198542"/>
            <a:ext cx="3566406" cy="1465016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 "/>
                <a:ea typeface="+mn-ea"/>
                <a:cs typeface="+mn-cs"/>
              </a:rPr>
              <a:t>Bij pijn, delier, </a:t>
            </a:r>
            <a:b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 "/>
                <a:ea typeface="+mn-ea"/>
                <a:cs typeface="+mn-cs"/>
              </a:rPr>
            </a:b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 "/>
                <a:ea typeface="+mn-ea"/>
                <a:cs typeface="+mn-cs"/>
              </a:rPr>
              <a:t>misselijkheid en braken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69D94"/>
              </a:buClr>
              <a:buSzTx/>
              <a:buFontTx/>
              <a:buNone/>
              <a:tabLst/>
              <a:defRPr/>
            </a:pPr>
            <a:r>
              <a:rPr kumimoji="0" lang="nl-NL" sz="1600" b="0" i="0" u="none" strike="noStrike" kern="1200" cap="none" spc="-1" normalizeH="0" baseline="0" noProof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Lato"/>
                <a:cs typeface="+mn-cs"/>
              </a:rPr>
              <a:t>Bij start al toevoegen </a:t>
            </a:r>
            <a:r>
              <a:rPr kumimoji="0" lang="nl-NL" sz="1600" b="0" i="0" u="none" strike="noStrike" kern="1200" cap="none" spc="-1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Lato"/>
                <a:cs typeface="+mn-cs"/>
              </a:rPr>
              <a:t>van levomepromazine (bolus 25 mg SC a 12 uur)</a:t>
            </a:r>
            <a:endParaRPr kumimoji="0" lang="nl-NL" sz="1600" b="0" i="0" u="none" strike="noStrike" kern="1200" cap="none" spc="-1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C9A3B6E6-CFCF-45C3-B577-AF48D257F339}"/>
              </a:ext>
            </a:extLst>
          </p:cNvPr>
          <p:cNvSpPr/>
          <p:nvPr/>
        </p:nvSpPr>
        <p:spPr>
          <a:xfrm>
            <a:off x="371476" y="2228321"/>
            <a:ext cx="802329" cy="80232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78D241F-598B-46DC-874A-FFD7234F6859}"/>
              </a:ext>
            </a:extLst>
          </p:cNvPr>
          <p:cNvSpPr txBox="1"/>
          <p:nvPr/>
        </p:nvSpPr>
        <p:spPr>
          <a:xfrm>
            <a:off x="4312797" y="3198542"/>
            <a:ext cx="3566406" cy="1021818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 "/>
                <a:ea typeface="+mn-ea"/>
                <a:cs typeface="+mn-cs"/>
              </a:rPr>
              <a:t>Nauwelijks effect </a:t>
            </a:r>
            <a:b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 "/>
                <a:ea typeface="+mn-ea"/>
                <a:cs typeface="+mn-cs"/>
              </a:rPr>
            </a:br>
            <a:r>
              <a:rPr kumimoji="0" lang="nl-NL" sz="1800" b="1" i="0" u="none" strike="noStrike" kern="1200" cap="none" spc="0" normalizeH="0" baseline="0" noProof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 "/>
                <a:ea typeface="+mn-ea"/>
                <a:cs typeface="+mn-cs"/>
              </a:rPr>
              <a:t>van midazolam</a:t>
            </a:r>
            <a:endParaRPr kumimoji="0" lang="nl-NL" sz="1800" b="1" i="0" u="none" strike="noStrike" kern="1200" cap="none" spc="0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Lato Regular 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69D94"/>
              </a:buClr>
              <a:buSzTx/>
              <a:buFontTx/>
              <a:buNone/>
              <a:tabLst/>
              <a:defRPr/>
            </a:pPr>
            <a:r>
              <a:rPr kumimoji="0" lang="nl-NL" sz="1600" b="0" i="0" u="none" strike="noStrike" kern="1200" cap="none" spc="-1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Lato"/>
                <a:cs typeface="+mn-cs"/>
              </a:rPr>
              <a:t>Eerder </a:t>
            </a:r>
            <a:r>
              <a:rPr kumimoji="0" lang="nl-NL" sz="1600" b="0" i="1" u="none" strike="noStrike" kern="1200" cap="none" spc="-1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Lato"/>
                <a:cs typeface="+mn-cs"/>
              </a:rPr>
              <a:t>stap 2 </a:t>
            </a:r>
            <a:r>
              <a:rPr kumimoji="0" lang="nl-NL" sz="1600" b="0" i="0" u="none" strike="noStrike" kern="1200" cap="none" spc="-1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Lato"/>
                <a:cs typeface="+mn-cs"/>
              </a:rPr>
              <a:t>toevoegen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BE450BD-5B50-469B-851A-3F83560391C6}"/>
              </a:ext>
            </a:extLst>
          </p:cNvPr>
          <p:cNvSpPr/>
          <p:nvPr/>
        </p:nvSpPr>
        <p:spPr>
          <a:xfrm>
            <a:off x="4307329" y="2228321"/>
            <a:ext cx="802329" cy="80232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9971CF9-D576-41EA-A716-2E466228D524}"/>
              </a:ext>
            </a:extLst>
          </p:cNvPr>
          <p:cNvSpPr txBox="1"/>
          <p:nvPr/>
        </p:nvSpPr>
        <p:spPr>
          <a:xfrm>
            <a:off x="8254119" y="3198542"/>
            <a:ext cx="3566406" cy="84023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72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+mn-cs"/>
              </a:rPr>
              <a:t>Continueer bv nicotinepleister </a:t>
            </a:r>
            <a:br>
              <a:rPr kumimoji="0" lang="nl-NL" sz="1800" b="1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+mn-cs"/>
              </a:rPr>
            </a:br>
            <a:r>
              <a:rPr kumimoji="0" lang="nl-NL" sz="1800" b="1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+mn-cs"/>
              </a:rPr>
              <a:t>en andere symptoomgerichte medicatie</a:t>
            </a:r>
            <a:endParaRPr kumimoji="0" lang="nl-NL" sz="1600" b="0" i="0" u="none" strike="noStrike" kern="1200" cap="none" spc="-1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53A36875-E948-4595-B802-0CC8725AE0ED}"/>
              </a:ext>
            </a:extLst>
          </p:cNvPr>
          <p:cNvSpPr/>
          <p:nvPr/>
        </p:nvSpPr>
        <p:spPr>
          <a:xfrm>
            <a:off x="8248651" y="2228321"/>
            <a:ext cx="802329" cy="802329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F5DAF69-98D2-4F5D-9FB3-6D80D34BC0B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6640" y="2431813"/>
            <a:ext cx="432000" cy="395345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7960EBAB-E71B-4C93-A941-506FDC79FE8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492493" y="2413485"/>
            <a:ext cx="432000" cy="43200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9E47506C-D1D8-45F5-8A36-54B093A9EBF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433815" y="2413485"/>
            <a:ext cx="432000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5787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8C61F7-DAB3-4B8F-9A48-ACDD424DF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iepe</a:t>
            </a:r>
            <a:r>
              <a:rPr lang="en-US" dirty="0"/>
              <a:t> </a:t>
            </a:r>
            <a:r>
              <a:rPr lang="en-US" i="1" dirty="0"/>
              <a:t>vs</a:t>
            </a:r>
            <a:r>
              <a:rPr lang="en-US" dirty="0"/>
              <a:t> </a:t>
            </a:r>
            <a:r>
              <a:rPr lang="en-US" dirty="0" err="1"/>
              <a:t>proportionele</a:t>
            </a:r>
            <a:r>
              <a:rPr lang="en-US" dirty="0"/>
              <a:t> </a:t>
            </a:r>
            <a:r>
              <a:rPr lang="en-US" dirty="0" err="1"/>
              <a:t>sedatie</a:t>
            </a:r>
            <a:endParaRPr lang="ru-RU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703229C-500A-4545-B9AE-51DAC0024C07}"/>
              </a:ext>
            </a:extLst>
          </p:cNvPr>
          <p:cNvSpPr txBox="1"/>
          <p:nvPr/>
        </p:nvSpPr>
        <p:spPr>
          <a:xfrm>
            <a:off x="4305300" y="2268014"/>
            <a:ext cx="3578225" cy="21936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000" b="1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iepe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Niet meer wakker worden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000" b="1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Proportionele</a:t>
            </a:r>
          </a:p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Mate van bewustzijnsdaling die </a:t>
            </a:r>
            <a:b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20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nodig en voldoende is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632AAA0-E863-42E5-85BC-FC25A4C2219D}"/>
              </a:ext>
            </a:extLst>
          </p:cNvPr>
          <p:cNvCxnSpPr>
            <a:cxnSpLocks/>
          </p:cNvCxnSpPr>
          <p:nvPr/>
        </p:nvCxnSpPr>
        <p:spPr>
          <a:xfrm>
            <a:off x="4305300" y="2138037"/>
            <a:ext cx="3578225" cy="0"/>
          </a:xfrm>
          <a:prstGeom prst="line">
            <a:avLst/>
          </a:prstGeom>
          <a:ln w="1905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phic 4">
            <a:extLst>
              <a:ext uri="{FF2B5EF4-FFF2-40B4-BE49-F238E27FC236}">
                <a16:creationId xmlns:a16="http://schemas.microsoft.com/office/drawing/2014/main" id="{62F06454-F528-4B27-992A-EDD47745E3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05301" y="1423885"/>
            <a:ext cx="458015" cy="57251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290EDAF8-A002-4DA6-8544-6292581E4636}"/>
              </a:ext>
            </a:extLst>
          </p:cNvPr>
          <p:cNvSpPr txBox="1"/>
          <p:nvPr/>
        </p:nvSpPr>
        <p:spPr>
          <a:xfrm>
            <a:off x="8247975" y="2125159"/>
            <a:ext cx="3571875" cy="93844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72000" tIns="72000" rIns="72000" bIns="72000" numCol="1" spcCol="360000">
            <a:spAutoFit/>
          </a:bodyPr>
          <a:lstStyle/>
          <a:p>
            <a:pPr marL="360" marR="0" lvl="0" indent="0" algn="l" defTabSz="914400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1" i="0" u="none" strike="noStrike" kern="1200" cap="none" spc="-1" normalizeH="0" baseline="0" noProof="0" dirty="0">
                <a:ln>
                  <a:noFill/>
                </a:ln>
                <a:solidFill>
                  <a:srgbClr val="769D94"/>
                </a:solidFill>
                <a:effectLst/>
                <a:uLnTx/>
                <a:uFillTx/>
                <a:latin typeface="Lato"/>
                <a:ea typeface="Lato"/>
                <a:cs typeface="+mn-cs"/>
              </a:rPr>
              <a:t>Aanbeveling: </a:t>
            </a:r>
          </a:p>
          <a:p>
            <a:pPr marL="360" marR="0" lvl="0" indent="0" algn="l" defTabSz="914400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0" i="0" u="none" strike="noStrike" kern="1200" cap="none" spc="-1" normalizeH="0" baseline="0" noProof="0" dirty="0">
                <a:ln>
                  <a:noFill/>
                </a:ln>
                <a:solidFill>
                  <a:srgbClr val="201E1F"/>
                </a:solidFill>
                <a:effectLst/>
                <a:uLnTx/>
                <a:uFillTx/>
                <a:latin typeface="Lato"/>
                <a:ea typeface="Lato"/>
                <a:cs typeface="+mn-cs"/>
              </a:rPr>
              <a:t>Bij continue sedatie gaat voorkeur </a:t>
            </a:r>
            <a:br>
              <a:rPr kumimoji="0" lang="nl-NL" sz="1600" b="0" i="0" u="none" strike="noStrike" kern="1200" cap="none" spc="-1" normalizeH="0" baseline="0" noProof="0" dirty="0">
                <a:ln>
                  <a:noFill/>
                </a:ln>
                <a:solidFill>
                  <a:srgbClr val="201E1F"/>
                </a:solidFill>
                <a:effectLst/>
                <a:uLnTx/>
                <a:uFillTx/>
                <a:latin typeface="Lato"/>
                <a:ea typeface="Lato"/>
                <a:cs typeface="+mn-cs"/>
              </a:rPr>
            </a:br>
            <a:r>
              <a:rPr kumimoji="0" lang="nl-NL" sz="1600" b="0" i="0" u="none" strike="noStrike" kern="1200" cap="none" spc="-1" normalizeH="0" baseline="0" noProof="0" dirty="0">
                <a:ln>
                  <a:noFill/>
                </a:ln>
                <a:solidFill>
                  <a:srgbClr val="201E1F"/>
                </a:solidFill>
                <a:effectLst/>
                <a:uLnTx/>
                <a:uFillTx/>
                <a:latin typeface="Lato"/>
                <a:ea typeface="Lato"/>
                <a:cs typeface="+mn-cs"/>
              </a:rPr>
              <a:t>uit naar proportione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BCC2D0A-5E8A-4075-A04A-0E35D0ECA925}"/>
              </a:ext>
            </a:extLst>
          </p:cNvPr>
          <p:cNvSpPr/>
          <p:nvPr/>
        </p:nvSpPr>
        <p:spPr>
          <a:xfrm>
            <a:off x="371476" y="1449338"/>
            <a:ext cx="3571200" cy="467999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4A4D282A-AE2F-4A73-AF27-0FDF1E93648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10"/>
          <a:stretch/>
        </p:blipFill>
        <p:spPr>
          <a:xfrm>
            <a:off x="825805" y="1694137"/>
            <a:ext cx="3116872" cy="4081796"/>
          </a:xfrm>
          <a:prstGeom prst="rect">
            <a:avLst/>
          </a:prstGeom>
        </p:spPr>
      </p:pic>
      <p:sp>
        <p:nvSpPr>
          <p:cNvPr id="14" name="Oval 13">
            <a:extLst>
              <a:ext uri="{FF2B5EF4-FFF2-40B4-BE49-F238E27FC236}">
                <a16:creationId xmlns:a16="http://schemas.microsoft.com/office/drawing/2014/main" id="{D40D4798-18B3-4B8F-AA10-8313B594E40D}"/>
              </a:ext>
            </a:extLst>
          </p:cNvPr>
          <p:cNvSpPr/>
          <p:nvPr/>
        </p:nvSpPr>
        <p:spPr>
          <a:xfrm>
            <a:off x="1061421" y="5408662"/>
            <a:ext cx="536340" cy="53634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8A0E45A-0468-48D1-BFC6-B629F83859FB}"/>
              </a:ext>
            </a:extLst>
          </p:cNvPr>
          <p:cNvSpPr/>
          <p:nvPr/>
        </p:nvSpPr>
        <p:spPr>
          <a:xfrm>
            <a:off x="1805740" y="5408662"/>
            <a:ext cx="536340" cy="53634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5B6C21E9-1D4D-4BDB-8CEA-9F5C2975CBBB}"/>
              </a:ext>
            </a:extLst>
          </p:cNvPr>
          <p:cNvSpPr/>
          <p:nvPr/>
        </p:nvSpPr>
        <p:spPr>
          <a:xfrm>
            <a:off x="2550058" y="5408662"/>
            <a:ext cx="536340" cy="53634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63224439-6213-4BD4-A0CD-E811D44DECB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82811" y="5529296"/>
            <a:ext cx="306000" cy="295071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FAD52B92-A1C6-465E-8B02-1B6284A8697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911910" y="5588160"/>
            <a:ext cx="324000" cy="187773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7A7E39B4-0F20-4A83-810A-E02C645DA4D6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712463" y="5529296"/>
            <a:ext cx="211530" cy="30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18027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C0FA8E-7420-4A04-A0D4-41851CBB09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Diepe </a:t>
            </a:r>
            <a:r>
              <a:rPr lang="nl-NL" i="1" dirty="0"/>
              <a:t>vs</a:t>
            </a:r>
            <a:r>
              <a:rPr lang="nl-NL" dirty="0"/>
              <a:t> proportionele sedatie </a:t>
            </a:r>
            <a:br>
              <a:rPr lang="nl-NL" dirty="0"/>
            </a:br>
            <a:r>
              <a:rPr lang="nl-NL" dirty="0">
                <a:solidFill>
                  <a:schemeClr val="accent6"/>
                </a:solidFill>
                <a:latin typeface="EB Garamond" panose="00000500000000000000" pitchFamily="2" charset="0"/>
                <a:ea typeface="EB Garamond" panose="00000500000000000000" pitchFamily="2" charset="0"/>
              </a:rPr>
              <a:t>en levensduur</a:t>
            </a:r>
            <a:endParaRPr lang="ru-RU" dirty="0">
              <a:solidFill>
                <a:schemeClr val="accent6"/>
              </a:solidFill>
              <a:latin typeface="EB Garamond" panose="00000500000000000000" pitchFamily="2" charset="0"/>
              <a:ea typeface="EB Garamond" panose="00000500000000000000" pitchFamily="2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39EEB94-6433-4A72-98C9-8E28C3CE89C3}"/>
              </a:ext>
            </a:extLst>
          </p:cNvPr>
          <p:cNvSpPr txBox="1"/>
          <p:nvPr/>
        </p:nvSpPr>
        <p:spPr>
          <a:xfrm>
            <a:off x="10237374" y="6129337"/>
            <a:ext cx="4537075" cy="230832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900" b="0" i="1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Maeda ea. Lancet Oncol 2015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F3124977-89F3-43D9-A548-6AD7CD8D616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05300" y="1449388"/>
            <a:ext cx="835442" cy="93372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17678F1-3395-4417-82BC-9CB352202FBC}"/>
              </a:ext>
            </a:extLst>
          </p:cNvPr>
          <p:cNvSpPr txBox="1"/>
          <p:nvPr/>
        </p:nvSpPr>
        <p:spPr>
          <a:xfrm>
            <a:off x="4717223" y="1723911"/>
            <a:ext cx="3166302" cy="1520416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 "/>
                <a:ea typeface="+mn-ea"/>
                <a:cs typeface="+mn-cs"/>
              </a:rPr>
              <a:t>Diepe sedatie </a:t>
            </a:r>
            <a:b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 "/>
                <a:ea typeface="+mn-ea"/>
                <a:cs typeface="+mn-cs"/>
              </a:rPr>
            </a:br>
            <a:r>
              <a:rPr kumimoji="0" lang="nl-NL" sz="1800" b="1" i="1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 "/>
                <a:ea typeface="+mn-ea"/>
                <a:cs typeface="+mn-cs"/>
              </a:rPr>
              <a:t>vs</a:t>
            </a: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 "/>
                <a:ea typeface="+mn-ea"/>
                <a:cs typeface="+mn-cs"/>
              </a:rPr>
              <a:t> proportionele sedatie </a:t>
            </a:r>
            <a:b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 "/>
                <a:ea typeface="+mn-ea"/>
                <a:cs typeface="+mn-cs"/>
              </a:rPr>
            </a:b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 "/>
                <a:ea typeface="+mn-ea"/>
                <a:cs typeface="+mn-cs"/>
              </a:rPr>
              <a:t>en levensduur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69D94"/>
              </a:buClr>
              <a:buSzTx/>
              <a:buFontTx/>
              <a:buNone/>
              <a:tabLst/>
              <a:defRPr/>
            </a:pPr>
            <a:r>
              <a:rPr kumimoji="0" lang="nl-NL" sz="1600" b="0" i="0" u="none" strike="noStrike" kern="1200" cap="none" spc="-1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Lato"/>
                <a:cs typeface="+mn-cs"/>
              </a:rPr>
              <a:t>Twee onderzoeken die tonen dat er geen verschil is</a:t>
            </a:r>
            <a:endParaRPr kumimoji="0" lang="nl-NL" sz="1600" b="0" i="0" u="none" strike="noStrike" kern="1200" cap="none" spc="-1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AD34375-EA37-4B50-87DE-1E6DD1F5DD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242300" y="1449388"/>
            <a:ext cx="835442" cy="933729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A999FEF1-965E-4C1F-B0B9-D2A23BEBAB33}"/>
              </a:ext>
            </a:extLst>
          </p:cNvPr>
          <p:cNvSpPr txBox="1"/>
          <p:nvPr/>
        </p:nvSpPr>
        <p:spPr>
          <a:xfrm>
            <a:off x="8654223" y="1723911"/>
            <a:ext cx="3166302" cy="2062103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 "/>
                <a:ea typeface="+mn-ea"/>
                <a:cs typeface="+mn-cs"/>
              </a:rPr>
              <a:t>Diepe </a:t>
            </a:r>
            <a:r>
              <a:rPr kumimoji="0" lang="nl-NL" sz="1800" b="1" i="0" u="none" strike="noStrike" kern="1200" cap="none" spc="0" normalizeH="0" baseline="0" noProof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 "/>
                <a:ea typeface="+mn-ea"/>
                <a:cs typeface="+mn-cs"/>
              </a:rPr>
              <a:t>sedatie </a:t>
            </a:r>
            <a:br>
              <a:rPr kumimoji="0" lang="nl-NL" sz="1800" b="1" i="0" u="none" strike="noStrike" kern="1200" cap="none" spc="0" normalizeH="0" baseline="0" noProof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 "/>
                <a:ea typeface="+mn-ea"/>
                <a:cs typeface="+mn-cs"/>
              </a:rPr>
            </a:br>
            <a:r>
              <a:rPr kumimoji="0" lang="nl-NL" sz="1800" b="1" i="0" u="none" strike="noStrike" kern="1200" cap="none" spc="0" normalizeH="0" baseline="0" noProof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 "/>
                <a:ea typeface="+mn-ea"/>
                <a:cs typeface="+mn-cs"/>
              </a:rPr>
              <a:t>vs geen sedatie </a:t>
            </a:r>
            <a:br>
              <a:rPr kumimoji="0" lang="nl-NL" sz="1800" b="1" i="0" u="none" strike="noStrike" kern="1200" cap="none" spc="0" normalizeH="0" baseline="0" noProof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 "/>
                <a:ea typeface="+mn-ea"/>
                <a:cs typeface="+mn-cs"/>
              </a:rPr>
            </a:br>
            <a:r>
              <a:rPr kumimoji="0" lang="nl-NL" sz="1800" b="1" i="0" u="none" strike="noStrike" kern="1200" cap="none" spc="0" normalizeH="0" baseline="0" noProof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 "/>
                <a:ea typeface="+mn-ea"/>
                <a:cs typeface="+mn-cs"/>
              </a:rPr>
              <a:t>en </a:t>
            </a: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 "/>
                <a:ea typeface="+mn-ea"/>
                <a:cs typeface="+mn-cs"/>
              </a:rPr>
              <a:t>levensduu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600" b="0" i="0" u="none" strike="noStrike" kern="1200" cap="none" spc="-1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Lato"/>
                <a:cs typeface="+mn-cs"/>
              </a:rPr>
              <a:t>Groot Japans onderzoek toont dat diepe sedatie niet leidt tot eerder of later overlijden dan wanneer geen sedatie werd toegepast</a:t>
            </a:r>
            <a:endParaRPr kumimoji="0" lang="nl-NL" sz="1600" b="0" i="0" u="none" strike="noStrike" kern="1200" cap="none" spc="-1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C22D4AE-58EC-4765-A111-0385DB30D203}"/>
              </a:ext>
            </a:extLst>
          </p:cNvPr>
          <p:cNvSpPr/>
          <p:nvPr/>
        </p:nvSpPr>
        <p:spPr>
          <a:xfrm>
            <a:off x="371476" y="1449338"/>
            <a:ext cx="3571200" cy="467999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3185D7E2-70B3-4337-B9F7-DB7FBACA0F5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10"/>
          <a:stretch/>
        </p:blipFill>
        <p:spPr>
          <a:xfrm>
            <a:off x="825805" y="1694137"/>
            <a:ext cx="3116872" cy="4081796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C9675935-D5FD-4E9F-9DAC-124888A73A47}"/>
              </a:ext>
            </a:extLst>
          </p:cNvPr>
          <p:cNvSpPr/>
          <p:nvPr/>
        </p:nvSpPr>
        <p:spPr>
          <a:xfrm>
            <a:off x="1061421" y="5408662"/>
            <a:ext cx="536340" cy="53634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2C130F61-FD86-4270-B16D-61007AD791F8}"/>
              </a:ext>
            </a:extLst>
          </p:cNvPr>
          <p:cNvSpPr/>
          <p:nvPr/>
        </p:nvSpPr>
        <p:spPr>
          <a:xfrm>
            <a:off x="1805740" y="5408662"/>
            <a:ext cx="536340" cy="53634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D95E3594-917C-408D-A789-1380C4066437}"/>
              </a:ext>
            </a:extLst>
          </p:cNvPr>
          <p:cNvSpPr/>
          <p:nvPr/>
        </p:nvSpPr>
        <p:spPr>
          <a:xfrm>
            <a:off x="2550058" y="5408662"/>
            <a:ext cx="536340" cy="53634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pic>
        <p:nvPicPr>
          <p:cNvPr id="18" name="Graphic 17">
            <a:extLst>
              <a:ext uri="{FF2B5EF4-FFF2-40B4-BE49-F238E27FC236}">
                <a16:creationId xmlns:a16="http://schemas.microsoft.com/office/drawing/2014/main" id="{FB52D696-C389-4FA2-8351-AB941DDF65C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82811" y="5529296"/>
            <a:ext cx="306000" cy="295071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2E48961D-6EC2-4ED5-B032-1947A3930B6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911910" y="5588160"/>
            <a:ext cx="324000" cy="187773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DF7BF7FB-A594-4922-9332-BF7690D81693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712463" y="5529296"/>
            <a:ext cx="211530" cy="30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46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7BBBA5-9A6C-4795-805D-AF05E59425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ens tot </a:t>
            </a:r>
            <a:r>
              <a:rPr lang="en-US" dirty="0" err="1"/>
              <a:t>diepe</a:t>
            </a:r>
            <a:r>
              <a:rPr lang="en-US" dirty="0"/>
              <a:t> </a:t>
            </a:r>
            <a:r>
              <a:rPr lang="en-US" dirty="0" err="1"/>
              <a:t>sedatie</a:t>
            </a:r>
            <a:endParaRPr lang="ru-RU" dirty="0"/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4C7FD395-E7AB-4A12-9238-2E83D08A42B8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59" r="24559"/>
          <a:stretch>
            <a:fillRect/>
          </a:stretch>
        </p:blipFill>
        <p:spPr/>
      </p:pic>
      <p:graphicFrame>
        <p:nvGraphicFramePr>
          <p:cNvPr id="6" name="Grafiek 7">
            <a:extLst>
              <a:ext uri="{FF2B5EF4-FFF2-40B4-BE49-F238E27FC236}">
                <a16:creationId xmlns:a16="http://schemas.microsoft.com/office/drawing/2014/main" id="{F9B32188-0E41-4A75-8BBA-9C714AFE9238}"/>
              </a:ext>
            </a:extLst>
          </p:cNvPr>
          <p:cNvGraphicFramePr/>
          <p:nvPr/>
        </p:nvGraphicFramePr>
        <p:xfrm>
          <a:off x="5238932" y="1844885"/>
          <a:ext cx="5186431" cy="3888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6729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9D414-F8D5-4F05-A24C-7045121EF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rmitterende </a:t>
            </a:r>
            <a:r>
              <a:rPr lang="en-US" dirty="0" err="1"/>
              <a:t>sedatie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DC78BEC-008A-471D-8809-B226681A6FB3}"/>
              </a:ext>
            </a:extLst>
          </p:cNvPr>
          <p:cNvSpPr txBox="1"/>
          <p:nvPr/>
        </p:nvSpPr>
        <p:spPr>
          <a:xfrm>
            <a:off x="4308475" y="2268014"/>
            <a:ext cx="3575050" cy="162807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edatie met als doel de symptomen </a:t>
            </a: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tijdelijk</a:t>
            </a: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te bestrijden </a:t>
            </a:r>
            <a:b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n de verwachting dat </a:t>
            </a:r>
            <a:b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e symptomen daarna niet meer ondraaglijk zijn voor de patiën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B141623-A7A2-43EB-9FB1-E5FD1F0E14A9}"/>
              </a:ext>
            </a:extLst>
          </p:cNvPr>
          <p:cNvCxnSpPr>
            <a:cxnSpLocks/>
          </p:cNvCxnSpPr>
          <p:nvPr/>
        </p:nvCxnSpPr>
        <p:spPr>
          <a:xfrm>
            <a:off x="4308475" y="2138037"/>
            <a:ext cx="3575050" cy="0"/>
          </a:xfrm>
          <a:prstGeom prst="line">
            <a:avLst/>
          </a:prstGeom>
          <a:ln w="1905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6C38695D-F999-4020-B9DC-C33CF54DD2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08476" y="1423885"/>
            <a:ext cx="458015" cy="572519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267DB104-F299-4E82-A841-B9D31C76A188}"/>
              </a:ext>
            </a:extLst>
          </p:cNvPr>
          <p:cNvSpPr txBox="1"/>
          <p:nvPr/>
        </p:nvSpPr>
        <p:spPr>
          <a:xfrm>
            <a:off x="4308474" y="4215635"/>
            <a:ext cx="3575051" cy="63087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</a:t>
            </a: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tt tot continue sedatie: daar wordt de sedatie tot overlijden doorgeze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5C9C3DA-3563-4B32-8F64-19DBB41CFD28}"/>
              </a:ext>
            </a:extLst>
          </p:cNvPr>
          <p:cNvSpPr txBox="1"/>
          <p:nvPr/>
        </p:nvSpPr>
        <p:spPr>
          <a:xfrm>
            <a:off x="4308474" y="5166060"/>
            <a:ext cx="3575051" cy="963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EC6533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Ook hier geldt dat de sedatie proportioneel moet zijn (niet per </a:t>
            </a:r>
            <a:br>
              <a: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EC6533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EC6533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é </a:t>
            </a: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EC6533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iepe bewustzijnsdaling)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F2520A9-15E3-4A34-86F1-5840913489D2}"/>
              </a:ext>
            </a:extLst>
          </p:cNvPr>
          <p:cNvSpPr/>
          <p:nvPr/>
        </p:nvSpPr>
        <p:spPr>
          <a:xfrm>
            <a:off x="371476" y="1449338"/>
            <a:ext cx="3571200" cy="467999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68E0607C-86BE-4A83-8D1A-4149311BBFC0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10"/>
          <a:stretch/>
        </p:blipFill>
        <p:spPr>
          <a:xfrm>
            <a:off x="825805" y="1694137"/>
            <a:ext cx="3116872" cy="4081796"/>
          </a:xfrm>
          <a:prstGeom prst="rect">
            <a:avLst/>
          </a:prstGeom>
        </p:spPr>
      </p:pic>
      <p:sp>
        <p:nvSpPr>
          <p:cNvPr id="21" name="Oval 20">
            <a:extLst>
              <a:ext uri="{FF2B5EF4-FFF2-40B4-BE49-F238E27FC236}">
                <a16:creationId xmlns:a16="http://schemas.microsoft.com/office/drawing/2014/main" id="{B5A7ECFF-C71E-439D-826E-424454EBC3EC}"/>
              </a:ext>
            </a:extLst>
          </p:cNvPr>
          <p:cNvSpPr/>
          <p:nvPr/>
        </p:nvSpPr>
        <p:spPr>
          <a:xfrm>
            <a:off x="1061421" y="5408662"/>
            <a:ext cx="536340" cy="53634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CDE64264-78A5-42CD-8072-BF378553AB87}"/>
              </a:ext>
            </a:extLst>
          </p:cNvPr>
          <p:cNvSpPr/>
          <p:nvPr/>
        </p:nvSpPr>
        <p:spPr>
          <a:xfrm>
            <a:off x="1805740" y="5408662"/>
            <a:ext cx="536340" cy="53634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32294CE4-B18E-460B-BA06-246A15C2A9DE}"/>
              </a:ext>
            </a:extLst>
          </p:cNvPr>
          <p:cNvSpPr/>
          <p:nvPr/>
        </p:nvSpPr>
        <p:spPr>
          <a:xfrm>
            <a:off x="2550058" y="5408662"/>
            <a:ext cx="536340" cy="53634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47B4FF71-F7AB-4A58-8330-F657C48B0CC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82811" y="5529296"/>
            <a:ext cx="306000" cy="295071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CAE3CE07-A332-40F4-920D-D5D25627F7B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911910" y="5588160"/>
            <a:ext cx="324000" cy="187773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91075F26-35E6-497D-94F2-2B84FBC6F6F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712463" y="5529296"/>
            <a:ext cx="211530" cy="306000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48DDA843-8021-461B-8C5C-4B543BA2D040}"/>
              </a:ext>
            </a:extLst>
          </p:cNvPr>
          <p:cNvSpPr txBox="1"/>
          <p:nvPr/>
        </p:nvSpPr>
        <p:spPr>
          <a:xfrm>
            <a:off x="8249322" y="3307954"/>
            <a:ext cx="3571200" cy="99179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72000" tIns="72000" rIns="72000" bIns="72000" numCol="1" spcCol="360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F5A46D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ndicatie 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5A46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Tijdelijk refractair symptoom dat tot ondraaglijk lijden leidt</a:t>
            </a:r>
            <a:endParaRPr kumimoji="0" lang="nl-NL" sz="1400" b="0" i="0" u="none" strike="noStrike" kern="1200" cap="none" spc="0" normalizeH="0" baseline="0" noProof="0" dirty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C8BD6E9-82CB-4410-BA6C-8C2F22D90BBD}"/>
              </a:ext>
            </a:extLst>
          </p:cNvPr>
          <p:cNvSpPr txBox="1"/>
          <p:nvPr/>
        </p:nvSpPr>
        <p:spPr>
          <a:xfrm>
            <a:off x="8249322" y="2136644"/>
            <a:ext cx="3575049" cy="991792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72000" tIns="72000" rIns="72000" bIns="72000" numCol="1" spcCol="360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F5A46D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Voorwaarde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5A46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Levensverwachting hoeft niet korter dan 2 weken te zijn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194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D71EF8C-8E0C-4F92-98C5-873B115B81C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71475" y="1513211"/>
            <a:ext cx="6565590" cy="4160268"/>
          </a:xfrm>
        </p:spPr>
        <p:txBody>
          <a:bodyPr/>
          <a:lstStyle/>
          <a:p>
            <a:r>
              <a:rPr lang="en-US" sz="3600" dirty="0"/>
              <a:t>“You matter because you are you, and you matter to the last moment of your life.</a:t>
            </a:r>
          </a:p>
          <a:p>
            <a:r>
              <a:rPr lang="en-US" sz="3600" dirty="0"/>
              <a:t>We will do all we can, not only to help you die peacefully, but also to live until you die.”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2089747-71E4-4AA8-9100-8DE642C30B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1475" y="677080"/>
            <a:ext cx="680558" cy="52932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11EEDA5-66D8-4948-9836-A9732ADB488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881595" y="0"/>
            <a:ext cx="4310406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0AA3230-D03C-4BCE-8B99-4B26D9BA664E}"/>
              </a:ext>
            </a:extLst>
          </p:cNvPr>
          <p:cNvSpPr txBox="1"/>
          <p:nvPr/>
        </p:nvSpPr>
        <p:spPr>
          <a:xfrm>
            <a:off x="371475" y="5947657"/>
            <a:ext cx="5724525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Cicely Saunders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8687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F2D8AAC5-AF74-4E31-A643-A8C047213B64}"/>
              </a:ext>
            </a:extLst>
          </p:cNvPr>
          <p:cNvSpPr txBox="1"/>
          <p:nvPr/>
        </p:nvSpPr>
        <p:spPr>
          <a:xfrm>
            <a:off x="4305300" y="1549581"/>
            <a:ext cx="3578226" cy="584775"/>
          </a:xfrm>
          <a:prstGeom prst="rect">
            <a:avLst/>
          </a:prstGeom>
          <a:noFill/>
        </p:spPr>
        <p:txBody>
          <a:bodyPr wrap="square" numCol="1" spcCol="360000">
            <a:spAutoFit/>
          </a:bodyPr>
          <a:lstStyle/>
          <a:p>
            <a:pPr marL="6302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rgbClr val="769D94"/>
              </a:buClr>
              <a:buSzTx/>
              <a:buFontTx/>
              <a:buNone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201E1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Bij ernstig delier tot anti psychotica zijn ingewerk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B57EB72-17B9-40AB-A02F-341EF634F2ED}"/>
              </a:ext>
            </a:extLst>
          </p:cNvPr>
          <p:cNvSpPr txBox="1"/>
          <p:nvPr/>
        </p:nvSpPr>
        <p:spPr>
          <a:xfrm>
            <a:off x="4305299" y="2279236"/>
            <a:ext cx="357822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302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rgbClr val="769D94"/>
              </a:buClr>
              <a:buSzTx/>
              <a:buFontTx/>
              <a:buNone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201E1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Nachtelijke sedati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500B027F-508F-432D-8A71-2909B16AC2B7}"/>
              </a:ext>
            </a:extLst>
          </p:cNvPr>
          <p:cNvSpPr txBox="1"/>
          <p:nvPr/>
        </p:nvSpPr>
        <p:spPr>
          <a:xfrm>
            <a:off x="4305300" y="2908736"/>
            <a:ext cx="357822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6302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rgbClr val="769D94"/>
              </a:buClr>
              <a:buSzTx/>
              <a:buFontTx/>
              <a:buNone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201E1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Proefsedati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4E9D414-F8D5-4F05-A24C-7045121EF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ntermitterende </a:t>
            </a:r>
            <a:r>
              <a:rPr lang="en-US" dirty="0" err="1"/>
              <a:t>sedatie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9C6A24F4-0F82-4CD4-B39A-FBD60AC5B8F8}"/>
              </a:ext>
            </a:extLst>
          </p:cNvPr>
          <p:cNvSpPr/>
          <p:nvPr/>
        </p:nvSpPr>
        <p:spPr>
          <a:xfrm>
            <a:off x="4305298" y="2809843"/>
            <a:ext cx="536340" cy="5363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15A1625C-7749-44FC-8819-DD743BFE526C}"/>
              </a:ext>
            </a:extLst>
          </p:cNvPr>
          <p:cNvSpPr/>
          <p:nvPr/>
        </p:nvSpPr>
        <p:spPr>
          <a:xfrm>
            <a:off x="4305298" y="2184854"/>
            <a:ext cx="536340" cy="5363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42ECA115-0C1E-4C1F-8996-F4FB2F22E3BA}"/>
              </a:ext>
            </a:extLst>
          </p:cNvPr>
          <p:cNvSpPr/>
          <p:nvPr/>
        </p:nvSpPr>
        <p:spPr>
          <a:xfrm>
            <a:off x="4305298" y="1559864"/>
            <a:ext cx="536340" cy="53634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pic>
        <p:nvPicPr>
          <p:cNvPr id="30" name="Graphic 29">
            <a:extLst>
              <a:ext uri="{FF2B5EF4-FFF2-40B4-BE49-F238E27FC236}">
                <a16:creationId xmlns:a16="http://schemas.microsoft.com/office/drawing/2014/main" id="{6F128BCD-5D5E-4EC1-94E9-3A8319EEEFF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245475" y="1449337"/>
            <a:ext cx="3587818" cy="4680000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ADA684AB-0864-4923-81E2-BDAC89AA7769}"/>
              </a:ext>
            </a:extLst>
          </p:cNvPr>
          <p:cNvSpPr txBox="1"/>
          <p:nvPr/>
        </p:nvSpPr>
        <p:spPr>
          <a:xfrm>
            <a:off x="8245474" y="1449388"/>
            <a:ext cx="3575775" cy="2471785"/>
          </a:xfrm>
          <a:prstGeom prst="rect">
            <a:avLst/>
          </a:prstGeom>
          <a:noFill/>
        </p:spPr>
        <p:txBody>
          <a:bodyPr wrap="square" lIns="108000" tIns="180000" rIns="108000" bIns="180000">
            <a:spAutoFit/>
          </a:bodyPr>
          <a:lstStyle/>
          <a:p>
            <a:pPr marL="72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+mn-cs"/>
              </a:rPr>
              <a:t>Eigen praktijk: </a:t>
            </a:r>
            <a:endParaRPr kumimoji="0" lang="nl-NL" sz="1800" b="1" i="0" u="none" strike="noStrike" kern="1200" cap="none" spc="-1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77800" marR="0" lvl="0" indent="-1778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69D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+mn-cs"/>
              </a:rPr>
              <a:t>Patiënte met geïnfecteerde intrathecale catheter, ernstige </a:t>
            </a:r>
            <a:r>
              <a:rPr kumimoji="0" lang="nl-NL" sz="160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+mn-cs"/>
              </a:rPr>
              <a:t>hoofdpijn gesedeerd </a:t>
            </a:r>
            <a:r>
              <a:rPr kumimoji="0" lang="nl-NL" sz="160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+mn-cs"/>
              </a:rPr>
              <a:t>tot verwacht effect antibiotica en </a:t>
            </a:r>
            <a:r>
              <a:rPr kumimoji="0" lang="nl-NL" sz="160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+mn-cs"/>
              </a:rPr>
              <a:t>pijnstilling 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69D94"/>
              </a:buClr>
              <a:buSzTx/>
              <a:buFontTx/>
              <a:buNone/>
              <a:tabLst/>
              <a:defRPr/>
            </a:pPr>
            <a:endParaRPr kumimoji="0" lang="nl-NL" sz="1600" b="0" i="0" u="none" strike="noStrike" kern="1200" cap="none" spc="-1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Lato"/>
              <a:cs typeface="+mn-cs"/>
            </a:endParaRPr>
          </a:p>
          <a:p>
            <a:pPr marL="177800" marR="0" lvl="0" indent="-1778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69D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+mn-cs"/>
              </a:rPr>
              <a:t>Jonge man met vermoeden "paradoxale" reactie op midazolam</a:t>
            </a:r>
            <a:endParaRPr kumimoji="0" lang="nl-NL" sz="1600" b="0" i="0" u="none" strike="noStrike" kern="1200" cap="none" spc="-1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4" name="Graphic 33">
            <a:extLst>
              <a:ext uri="{FF2B5EF4-FFF2-40B4-BE49-F238E27FC236}">
                <a16:creationId xmlns:a16="http://schemas.microsoft.com/office/drawing/2014/main" id="{259B336F-F038-4301-B884-DA73C9552530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86923" y="2327024"/>
            <a:ext cx="173091" cy="252000"/>
          </a:xfrm>
          <a:prstGeom prst="rect">
            <a:avLst/>
          </a:prstGeom>
        </p:spPr>
      </p:pic>
      <p:pic>
        <p:nvPicPr>
          <p:cNvPr id="36" name="Graphic 35">
            <a:extLst>
              <a:ext uri="{FF2B5EF4-FFF2-40B4-BE49-F238E27FC236}">
                <a16:creationId xmlns:a16="http://schemas.microsoft.com/office/drawing/2014/main" id="{5E636AA8-ADA4-4418-8A5B-DF7D35A7CD8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411468" y="1687205"/>
            <a:ext cx="324000" cy="281659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4F2AC939-6AE0-444D-89D4-8F9A3DCFD60B}"/>
              </a:ext>
            </a:extLst>
          </p:cNvPr>
          <p:cNvSpPr/>
          <p:nvPr/>
        </p:nvSpPr>
        <p:spPr>
          <a:xfrm>
            <a:off x="371476" y="1449338"/>
            <a:ext cx="3571200" cy="467999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C53DEF67-FFEC-49DB-9897-F526116FCA80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10"/>
          <a:stretch/>
        </p:blipFill>
        <p:spPr>
          <a:xfrm>
            <a:off x="825805" y="1694137"/>
            <a:ext cx="3116872" cy="4081796"/>
          </a:xfrm>
          <a:prstGeom prst="rect">
            <a:avLst/>
          </a:prstGeom>
        </p:spPr>
      </p:pic>
      <p:sp>
        <p:nvSpPr>
          <p:cNvPr id="23" name="Oval 22">
            <a:extLst>
              <a:ext uri="{FF2B5EF4-FFF2-40B4-BE49-F238E27FC236}">
                <a16:creationId xmlns:a16="http://schemas.microsoft.com/office/drawing/2014/main" id="{6A29F1F6-2377-48DF-AE9E-DE51EF0592F0}"/>
              </a:ext>
            </a:extLst>
          </p:cNvPr>
          <p:cNvSpPr/>
          <p:nvPr/>
        </p:nvSpPr>
        <p:spPr>
          <a:xfrm>
            <a:off x="1061421" y="5408662"/>
            <a:ext cx="536340" cy="53634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ADFE3FA2-F2DD-4CE1-B2E6-8B4EE446E016}"/>
              </a:ext>
            </a:extLst>
          </p:cNvPr>
          <p:cNvSpPr/>
          <p:nvPr/>
        </p:nvSpPr>
        <p:spPr>
          <a:xfrm>
            <a:off x="1805740" y="5408662"/>
            <a:ext cx="536340" cy="53634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991D24F6-F443-4C8B-A99B-C2F749B153DB}"/>
              </a:ext>
            </a:extLst>
          </p:cNvPr>
          <p:cNvSpPr/>
          <p:nvPr/>
        </p:nvSpPr>
        <p:spPr>
          <a:xfrm>
            <a:off x="2550058" y="5408662"/>
            <a:ext cx="536340" cy="53634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pic>
        <p:nvPicPr>
          <p:cNvPr id="27" name="Graphic 26">
            <a:extLst>
              <a:ext uri="{FF2B5EF4-FFF2-40B4-BE49-F238E27FC236}">
                <a16:creationId xmlns:a16="http://schemas.microsoft.com/office/drawing/2014/main" id="{607A0CC7-02FB-4A45-8044-1598B10F4BD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182811" y="5529296"/>
            <a:ext cx="306000" cy="295071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634E9FFC-9DCD-49EB-94FC-FBD6046293A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911910" y="5588160"/>
            <a:ext cx="324000" cy="187773"/>
          </a:xfrm>
          <a:prstGeom prst="rect">
            <a:avLst/>
          </a:prstGeom>
        </p:spPr>
      </p:pic>
      <p:pic>
        <p:nvPicPr>
          <p:cNvPr id="32" name="Graphic 31">
            <a:extLst>
              <a:ext uri="{FF2B5EF4-FFF2-40B4-BE49-F238E27FC236}">
                <a16:creationId xmlns:a16="http://schemas.microsoft.com/office/drawing/2014/main" id="{9904922E-CBB7-4FE4-83D2-D3BCFF97AF0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2712463" y="5529296"/>
            <a:ext cx="211530" cy="3060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9E7FB00D-987F-4404-AD81-7AA0179A5712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420468" y="2926026"/>
            <a:ext cx="306000" cy="303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385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4E9D414-F8D5-4F05-A24C-7045121EF8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ute </a:t>
            </a:r>
            <a:r>
              <a:rPr lang="en-US" dirty="0" err="1"/>
              <a:t>sedatie</a:t>
            </a:r>
            <a:r>
              <a:rPr lang="en-US" dirty="0"/>
              <a:t> </a:t>
            </a:r>
            <a:endParaRPr lang="ru-RU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DC78BEC-008A-471D-8809-B226681A6FB3}"/>
              </a:ext>
            </a:extLst>
          </p:cNvPr>
          <p:cNvSpPr txBox="1"/>
          <p:nvPr/>
        </p:nvSpPr>
        <p:spPr>
          <a:xfrm>
            <a:off x="4308475" y="2268014"/>
            <a:ext cx="3575050" cy="229287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Acute levensbedreigende situatie bij een patiënt in de palliatieve </a:t>
            </a:r>
            <a:r>
              <a: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of stervensfase </a:t>
            </a: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ie niet anders behandeld kan worden, tot ondraaglijk lijden leidt én binnen enkele minuten tot hooguit enkele uren tot overlijden leid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B141623-A7A2-43EB-9FB1-E5FD1F0E14A9}"/>
              </a:ext>
            </a:extLst>
          </p:cNvPr>
          <p:cNvCxnSpPr>
            <a:cxnSpLocks/>
          </p:cNvCxnSpPr>
          <p:nvPr/>
        </p:nvCxnSpPr>
        <p:spPr>
          <a:xfrm>
            <a:off x="4308475" y="2138037"/>
            <a:ext cx="3575050" cy="0"/>
          </a:xfrm>
          <a:prstGeom prst="line">
            <a:avLst/>
          </a:prstGeom>
          <a:ln w="1905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6C38695D-F999-4020-B9DC-C33CF54DD24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08476" y="1423885"/>
            <a:ext cx="458015" cy="572519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8872EA9C-B198-4CE3-B8BA-B05B3C5008B0}"/>
              </a:ext>
            </a:extLst>
          </p:cNvPr>
          <p:cNvSpPr txBox="1"/>
          <p:nvPr/>
        </p:nvSpPr>
        <p:spPr>
          <a:xfrm>
            <a:off x="8249326" y="5830857"/>
            <a:ext cx="3571200" cy="29848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EC6533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→ Maak een pro-actief plan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7D18103-A144-4585-A52C-32AF267BAA12}"/>
              </a:ext>
            </a:extLst>
          </p:cNvPr>
          <p:cNvSpPr/>
          <p:nvPr/>
        </p:nvSpPr>
        <p:spPr>
          <a:xfrm>
            <a:off x="371476" y="1449338"/>
            <a:ext cx="3571200" cy="467999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048DC873-D189-4C85-B4F7-4584BEBCF981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310"/>
          <a:stretch/>
        </p:blipFill>
        <p:spPr>
          <a:xfrm>
            <a:off x="825805" y="1694137"/>
            <a:ext cx="3116872" cy="4081796"/>
          </a:xfrm>
          <a:prstGeom prst="rect">
            <a:avLst/>
          </a:prstGeom>
        </p:spPr>
      </p:pic>
      <p:sp>
        <p:nvSpPr>
          <p:cNvPr id="16" name="Oval 15">
            <a:extLst>
              <a:ext uri="{FF2B5EF4-FFF2-40B4-BE49-F238E27FC236}">
                <a16:creationId xmlns:a16="http://schemas.microsoft.com/office/drawing/2014/main" id="{7B3AEE44-0080-4BF7-A62C-B32A4A8B7086}"/>
              </a:ext>
            </a:extLst>
          </p:cNvPr>
          <p:cNvSpPr/>
          <p:nvPr/>
        </p:nvSpPr>
        <p:spPr>
          <a:xfrm>
            <a:off x="1061421" y="5408662"/>
            <a:ext cx="536340" cy="53634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D89E386-EDD8-446B-9604-304788EADC75}"/>
              </a:ext>
            </a:extLst>
          </p:cNvPr>
          <p:cNvSpPr/>
          <p:nvPr/>
        </p:nvSpPr>
        <p:spPr>
          <a:xfrm>
            <a:off x="1805740" y="5408662"/>
            <a:ext cx="536340" cy="536340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78BD33F4-93DC-4817-AED3-DD46E53F8B39}"/>
              </a:ext>
            </a:extLst>
          </p:cNvPr>
          <p:cNvSpPr/>
          <p:nvPr/>
        </p:nvSpPr>
        <p:spPr>
          <a:xfrm>
            <a:off x="2550058" y="5408662"/>
            <a:ext cx="536340" cy="536340"/>
          </a:xfrm>
          <a:prstGeom prst="ellipse">
            <a:avLst/>
          </a:prstGeom>
          <a:solidFill>
            <a:schemeClr val="accent4"/>
          </a:solidFill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A79A8004-C546-4AB8-AC33-72CA1A7A98E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82811" y="5529296"/>
            <a:ext cx="306000" cy="295071"/>
          </a:xfrm>
          <a:prstGeom prst="rect">
            <a:avLst/>
          </a:prstGeom>
        </p:spPr>
      </p:pic>
      <p:pic>
        <p:nvPicPr>
          <p:cNvPr id="25" name="Graphic 24">
            <a:extLst>
              <a:ext uri="{FF2B5EF4-FFF2-40B4-BE49-F238E27FC236}">
                <a16:creationId xmlns:a16="http://schemas.microsoft.com/office/drawing/2014/main" id="{BB112F94-68B0-47A0-BB3D-E5DE6622B28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911910" y="5588160"/>
            <a:ext cx="324000" cy="187773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7EA04C09-38AC-483F-89F2-4A2EC555C25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2712463" y="5529296"/>
            <a:ext cx="211530" cy="30600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64C15954-CF3E-4D4C-8090-72F002089733}"/>
              </a:ext>
            </a:extLst>
          </p:cNvPr>
          <p:cNvSpPr txBox="1"/>
          <p:nvPr/>
        </p:nvSpPr>
        <p:spPr>
          <a:xfrm>
            <a:off x="8249323" y="2138037"/>
            <a:ext cx="3575049" cy="245373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lIns="72000" tIns="72000" rIns="72000" bIns="72000" numCol="1" spcCol="360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F5A46D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Voorwaarde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5A46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reigende verstikking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5A46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Heftige bloeding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5A46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Cerebrale inklemming met tetanie en/of strekkrampen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5A46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Acuut longoedeem, hartinfarct, aneurysma, massale longembolieën, spanningspneu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490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9ACAD4-85FB-4B26-9267-6785E40984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ute </a:t>
            </a:r>
            <a:r>
              <a:rPr lang="en-US" dirty="0" err="1"/>
              <a:t>sedatie</a:t>
            </a:r>
            <a:r>
              <a:rPr lang="en-US" dirty="0"/>
              <a:t> </a:t>
            </a:r>
            <a:endParaRPr lang="ru-RU" dirty="0"/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671C49BC-0699-47CC-82A2-6C444A95DA9F}"/>
              </a:ext>
            </a:extLst>
          </p:cNvPr>
          <p:cNvGraphicFramePr>
            <a:graphicFrameLocks noGrp="1"/>
          </p:cNvGraphicFramePr>
          <p:nvPr/>
        </p:nvGraphicFramePr>
        <p:xfrm>
          <a:off x="371473" y="1449388"/>
          <a:ext cx="11449052" cy="323208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06326">
                  <a:extLst>
                    <a:ext uri="{9D8B030D-6E8A-4147-A177-3AD203B41FA5}">
                      <a16:colId xmlns:a16="http://schemas.microsoft.com/office/drawing/2014/main" val="2801185856"/>
                    </a:ext>
                  </a:extLst>
                </a:gridCol>
                <a:gridCol w="2306326">
                  <a:extLst>
                    <a:ext uri="{9D8B030D-6E8A-4147-A177-3AD203B41FA5}">
                      <a16:colId xmlns:a16="http://schemas.microsoft.com/office/drawing/2014/main" val="4204431263"/>
                    </a:ext>
                  </a:extLst>
                </a:gridCol>
                <a:gridCol w="6836400">
                  <a:extLst>
                    <a:ext uri="{9D8B030D-6E8A-4147-A177-3AD203B41FA5}">
                      <a16:colId xmlns:a16="http://schemas.microsoft.com/office/drawing/2014/main" val="278258723"/>
                    </a:ext>
                  </a:extLst>
                </a:gridCol>
              </a:tblGrid>
              <a:tr h="504815">
                <a:tc rowSpan="2">
                  <a:txBody>
                    <a:bodyPr/>
                    <a:lstStyle/>
                    <a:p>
                      <a:pPr marL="176213" indent="0" algn="l">
                        <a:lnSpc>
                          <a:spcPct val="100000"/>
                        </a:lnSpc>
                      </a:pPr>
                      <a:r>
                        <a:rPr lang="nl-NL" sz="1400" b="1" i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IV toegang</a:t>
                      </a:r>
                    </a:p>
                  </a:txBody>
                  <a:tcPr marL="4680" marR="468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0" algn="l">
                        <a:lnSpc>
                          <a:spcPct val="100000"/>
                        </a:lnSpc>
                        <a:tabLst>
                          <a:tab pos="87313" algn="l"/>
                        </a:tabLst>
                      </a:pPr>
                      <a:r>
                        <a:rPr lang="nl-NL" sz="1400" b="0" i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idazolam</a:t>
                      </a:r>
                    </a:p>
                  </a:txBody>
                  <a:tcPr marL="4680" marR="468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0" algn="l">
                        <a:spcAft>
                          <a:spcPts val="600"/>
                        </a:spcAft>
                      </a:pPr>
                      <a:r>
                        <a:rPr lang="en-US" sz="1400" b="0" i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5-30 mg IV in </a:t>
                      </a:r>
                      <a:r>
                        <a:rPr lang="en-US" sz="1400" b="0" i="0" strike="noStrike" kern="1200" spc="-1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kele</a:t>
                      </a:r>
                      <a:r>
                        <a:rPr lang="en-US" sz="1400" b="0" i="0" strike="noStrike" kern="1200" spc="-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minuten </a:t>
                      </a:r>
                      <a:r>
                        <a:rPr lang="en-US" sz="1400" b="0" i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t </a:t>
                      </a:r>
                      <a:r>
                        <a:rPr lang="en-US" sz="1400" b="0" i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oldoende</a:t>
                      </a:r>
                      <a:r>
                        <a:rPr lang="en-US" sz="1400" b="0" i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b="0" i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datie</a:t>
                      </a:r>
                      <a:r>
                        <a:rPr lang="en-US" sz="1400" b="0" i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is </a:t>
                      </a:r>
                      <a:r>
                        <a:rPr lang="en-US" sz="1400" b="0" i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ereikt</a:t>
                      </a:r>
                      <a:endParaRPr lang="en-US" sz="1400" b="0" i="0" strike="noStrike" kern="1200" spc="-1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10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6497305"/>
                  </a:ext>
                </a:extLst>
              </a:tr>
              <a:tr h="776375">
                <a:tc vMerge="1">
                  <a:txBody>
                    <a:bodyPr/>
                    <a:lstStyle/>
                    <a:p>
                      <a:pPr marL="176213" indent="0" algn="l">
                        <a:lnSpc>
                          <a:spcPct val="100000"/>
                        </a:lnSpc>
                      </a:pPr>
                      <a:endParaRPr lang="nl-NL" sz="1400" b="1" i="0" kern="1200" dirty="0">
                        <a:solidFill>
                          <a:srgbClr val="4842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" marR="468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0" algn="l">
                        <a:lnSpc>
                          <a:spcPct val="100000"/>
                        </a:lnSpc>
                        <a:tabLst>
                          <a:tab pos="87313" algn="l"/>
                        </a:tabLst>
                      </a:pPr>
                      <a:r>
                        <a:rPr lang="nl-NL" sz="1400" b="0" i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rfine</a:t>
                      </a:r>
                    </a:p>
                  </a:txBody>
                  <a:tcPr marL="4680" marR="468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0" algn="l">
                        <a:spcAft>
                          <a:spcPts val="600"/>
                        </a:spcAft>
                      </a:pPr>
                      <a:r>
                        <a:rPr lang="en-US" sz="1400" b="0" i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pioïdnaïef</a:t>
                      </a:r>
                      <a:r>
                        <a:rPr lang="en-US" sz="1400" b="0" i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15 mg </a:t>
                      </a:r>
                      <a:r>
                        <a:rPr lang="en-US" sz="1400" b="0" i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ngzaam</a:t>
                      </a:r>
                      <a:r>
                        <a:rPr lang="en-US" sz="1400" b="0" i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IV</a:t>
                      </a:r>
                    </a:p>
                    <a:p>
                      <a:pPr marL="87313" indent="0" algn="l">
                        <a:spcAft>
                          <a:spcPts val="600"/>
                        </a:spcAft>
                      </a:pPr>
                      <a:r>
                        <a:rPr lang="en-US" sz="1400" b="0" i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/3e van de </a:t>
                      </a:r>
                      <a:r>
                        <a:rPr lang="en-US" sz="1400" b="0" i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gdosering</a:t>
                      </a:r>
                      <a:r>
                        <a:rPr lang="en-US" sz="1400" b="0" i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tot max van 30 mg IV</a:t>
                      </a:r>
                    </a:p>
                  </a:txBody>
                  <a:tcPr marL="0" marR="10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5870315"/>
                  </a:ext>
                </a:extLst>
              </a:tr>
              <a:tr h="776375">
                <a:tc rowSpan="2">
                  <a:txBody>
                    <a:bodyPr/>
                    <a:lstStyle/>
                    <a:p>
                      <a:pPr marL="176213" indent="0" algn="l">
                        <a:lnSpc>
                          <a:spcPct val="100000"/>
                        </a:lnSpc>
                      </a:pPr>
                      <a:r>
                        <a:rPr lang="nl-NL" sz="1400" b="1" i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Geen IV</a:t>
                      </a:r>
                    </a:p>
                  </a:txBody>
                  <a:tcPr marL="3600" marR="360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731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b="0" i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idazolam </a:t>
                      </a:r>
                    </a:p>
                  </a:txBody>
                  <a:tcPr marL="4680" marR="468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7313" indent="0" algn="l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nl-NL" sz="1400" b="0" i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5-30 mg intranasaal (3 x 2,5 mg in ieder neusgat) </a:t>
                      </a:r>
                      <a:r>
                        <a:rPr lang="nl-NL" sz="1400" b="0" i="0" strike="noStrike" kern="1200" spc="-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f SC/IM</a:t>
                      </a:r>
                      <a:endParaRPr lang="nl-NL" sz="1400" b="0" i="0" strike="noStrike" kern="1200" spc="-1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87313" indent="0" algn="l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nl-NL" sz="1400" b="0" i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ies voor 30 mg bij verstikking of benzodiazepine gebruik (2 x 15 mg)</a:t>
                      </a:r>
                    </a:p>
                  </a:txBody>
                  <a:tcPr marL="0" marR="10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9616842"/>
                  </a:ext>
                </a:extLst>
              </a:tr>
              <a:tr h="776375">
                <a:tc vMerge="1">
                  <a:txBody>
                    <a:bodyPr/>
                    <a:lstStyle/>
                    <a:p>
                      <a:pPr marL="176213" indent="0" algn="l">
                        <a:lnSpc>
                          <a:spcPct val="100000"/>
                        </a:lnSpc>
                      </a:pPr>
                      <a:endParaRPr lang="nl-NL" sz="1400" b="1" i="0" kern="1200" dirty="0">
                        <a:solidFill>
                          <a:srgbClr val="48424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" marR="360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731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b="0" i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rfine </a:t>
                      </a:r>
                    </a:p>
                  </a:txBody>
                  <a:tcPr marL="4680" marR="468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7313" indent="0" algn="l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en-US" sz="1400" b="0" i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pioïdnaïef</a:t>
                      </a:r>
                      <a:r>
                        <a:rPr lang="en-US" sz="1400" b="0" i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15 mg SC</a:t>
                      </a:r>
                    </a:p>
                    <a:p>
                      <a:pPr marL="8731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0" i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/3e van de </a:t>
                      </a:r>
                      <a:r>
                        <a:rPr lang="en-US" sz="1400" b="0" i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agdosering</a:t>
                      </a:r>
                      <a:r>
                        <a:rPr lang="en-US" sz="1400" b="0" i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tot max van 30 mg SC</a:t>
                      </a:r>
                    </a:p>
                  </a:txBody>
                  <a:tcPr marL="0" marR="10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36915820"/>
                  </a:ext>
                </a:extLst>
              </a:tr>
              <a:tr h="398141">
                <a:tc gridSpan="3">
                  <a:txBody>
                    <a:bodyPr/>
                    <a:lstStyle/>
                    <a:p>
                      <a:pPr marL="176213" indent="0" algn="l">
                        <a:lnSpc>
                          <a:spcPct val="100000"/>
                        </a:lnSpc>
                      </a:pPr>
                      <a:r>
                        <a:rPr lang="nl-NL" sz="1400" b="1" i="0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Herhaal medicatie zo nodig op geleide van effect</a:t>
                      </a:r>
                    </a:p>
                  </a:txBody>
                  <a:tcPr marL="3600" marR="360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8731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nl-NL" sz="1400" b="0" strike="noStrike" kern="1200" spc="-1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680" marR="468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266700" indent="-179388" algn="l">
                        <a:lnSpc>
                          <a:spcPct val="100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endParaRPr lang="nl-NL" sz="1200" b="0" strike="noStrike" kern="1200" spc="-1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10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38652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90371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282667-71EF-420E-B148-627AFD071C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ru-RU" dirty="0"/>
          </a:p>
        </p:txBody>
      </p:sp>
      <p:sp>
        <p:nvSpPr>
          <p:cNvPr id="3" name="Rectangle 2">
            <a:hlinkClick r:id="" action="ppaction://noaction"/>
            <a:extLst>
              <a:ext uri="{FF2B5EF4-FFF2-40B4-BE49-F238E27FC236}">
                <a16:creationId xmlns:a16="http://schemas.microsoft.com/office/drawing/2014/main" id="{979A8A35-829A-4AB5-BAB3-64D778E6C91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35085" y="1449388"/>
            <a:ext cx="1668727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Achtergrond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</a:p>
        </p:txBody>
      </p:sp>
      <p:sp>
        <p:nvSpPr>
          <p:cNvPr id="4" name="Rectangle 3">
            <a:hlinkClick r:id="rId22" action="ppaction://hlinksldjump"/>
            <a:extLst>
              <a:ext uri="{FF2B5EF4-FFF2-40B4-BE49-F238E27FC236}">
                <a16:creationId xmlns:a16="http://schemas.microsoft.com/office/drawing/2014/main" id="{4ED52BB0-8BEB-473E-9AE4-6B18D951B04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71475" y="1449388"/>
            <a:ext cx="400110" cy="40011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1</a:t>
            </a:r>
          </a:p>
        </p:txBody>
      </p:sp>
      <p:sp>
        <p:nvSpPr>
          <p:cNvPr id="5" name="Rectangle 4">
            <a:hlinkClick r:id="" action="ppaction://noaction"/>
            <a:extLst>
              <a:ext uri="{FF2B5EF4-FFF2-40B4-BE49-F238E27FC236}">
                <a16:creationId xmlns:a16="http://schemas.microsoft.com/office/drawing/2014/main" id="{CB257035-02EF-4D0A-B788-C9157438BF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35086" y="2373271"/>
            <a:ext cx="18441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efinitie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</a:p>
        </p:txBody>
      </p:sp>
      <p:sp>
        <p:nvSpPr>
          <p:cNvPr id="6" name="Rectangle 5">
            <a:hlinkClick r:id="" action="ppaction://noaction"/>
            <a:extLst>
              <a:ext uri="{FF2B5EF4-FFF2-40B4-BE49-F238E27FC236}">
                <a16:creationId xmlns:a16="http://schemas.microsoft.com/office/drawing/2014/main" id="{3AEE79DE-3F80-49AC-8AFF-9ED659D34CA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71475" y="2373271"/>
            <a:ext cx="400110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1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.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9" name="Rectangle 8">
            <a:hlinkClick r:id="" action="ppaction://noaction"/>
            <a:extLst>
              <a:ext uri="{FF2B5EF4-FFF2-40B4-BE49-F238E27FC236}">
                <a16:creationId xmlns:a16="http://schemas.microsoft.com/office/drawing/2014/main" id="{6CA52C68-00B6-45AE-A419-C2A55143489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35086" y="1908486"/>
            <a:ext cx="18441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Cijfer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 </a:t>
            </a:r>
          </a:p>
        </p:txBody>
      </p:sp>
      <p:sp>
        <p:nvSpPr>
          <p:cNvPr id="10" name="Rectangle 9">
            <a:hlinkClick r:id="rId23" action="ppaction://hlinksldjump"/>
            <a:extLst>
              <a:ext uri="{FF2B5EF4-FFF2-40B4-BE49-F238E27FC236}">
                <a16:creationId xmlns:a16="http://schemas.microsoft.com/office/drawing/2014/main" id="{398CFDB7-1949-4132-B80E-E45F52890F8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71475" y="1908486"/>
            <a:ext cx="400110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1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.1</a:t>
            </a:r>
          </a:p>
        </p:txBody>
      </p:sp>
      <p:sp>
        <p:nvSpPr>
          <p:cNvPr id="17" name="Rectangle 16">
            <a:hlinkClick r:id="" action="ppaction://noaction"/>
            <a:extLst>
              <a:ext uri="{FF2B5EF4-FFF2-40B4-BE49-F238E27FC236}">
                <a16:creationId xmlns:a16="http://schemas.microsoft.com/office/drawing/2014/main" id="{167497C3-3705-40B3-A8AD-6E57DAEF924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35085" y="5727255"/>
            <a:ext cx="1668727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Cases </a:t>
            </a:r>
          </a:p>
        </p:txBody>
      </p:sp>
      <p:sp>
        <p:nvSpPr>
          <p:cNvPr id="18" name="Rectangle 17">
            <a:hlinkClick r:id="rId22" action="ppaction://hlinksldjump"/>
            <a:extLst>
              <a:ext uri="{FF2B5EF4-FFF2-40B4-BE49-F238E27FC236}">
                <a16:creationId xmlns:a16="http://schemas.microsoft.com/office/drawing/2014/main" id="{6689A4FF-AEB1-4171-9D2A-1F9C48EEB63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371475" y="5727255"/>
            <a:ext cx="400110" cy="40011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3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4" name="Rectangle 23">
            <a:hlinkClick r:id="" action="ppaction://noaction"/>
            <a:extLst>
              <a:ext uri="{FF2B5EF4-FFF2-40B4-BE49-F238E27FC236}">
                <a16:creationId xmlns:a16="http://schemas.microsoft.com/office/drawing/2014/main" id="{2C079603-C4D3-432F-B3C8-94B8B012CA5D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4768910" y="1449388"/>
            <a:ext cx="254629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Ervaring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naasten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5" name="Rectangle 24">
            <a:hlinkClick r:id="rId22" action="ppaction://hlinksldjump"/>
            <a:extLst>
              <a:ext uri="{FF2B5EF4-FFF2-40B4-BE49-F238E27FC236}">
                <a16:creationId xmlns:a16="http://schemas.microsoft.com/office/drawing/2014/main" id="{BD58595F-8794-4864-9789-8FD7E5C1705C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4305300" y="1449388"/>
            <a:ext cx="400110" cy="40011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4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33" name="Rectangle 32">
            <a:hlinkClick r:id="" action="ppaction://noaction"/>
            <a:extLst>
              <a:ext uri="{FF2B5EF4-FFF2-40B4-BE49-F238E27FC236}">
                <a16:creationId xmlns:a16="http://schemas.microsoft.com/office/drawing/2014/main" id="{8AA14071-21A1-4EE7-B1FC-32DBEA8EED51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4768910" y="3359102"/>
            <a:ext cx="1668727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Kernpunte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</a:p>
        </p:txBody>
      </p:sp>
      <p:sp>
        <p:nvSpPr>
          <p:cNvPr id="34" name="Rectangle 33">
            <a:hlinkClick r:id="rId22" action="ppaction://hlinksldjump"/>
            <a:extLst>
              <a:ext uri="{FF2B5EF4-FFF2-40B4-BE49-F238E27FC236}">
                <a16:creationId xmlns:a16="http://schemas.microsoft.com/office/drawing/2014/main" id="{1E50C2C1-C14F-485C-82D8-2AD918EA411C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4305300" y="3359102"/>
            <a:ext cx="400110" cy="40011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5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1" name="Rectangle 10">
            <a:hlinkClick r:id="" action="ppaction://noaction"/>
            <a:extLst>
              <a:ext uri="{FF2B5EF4-FFF2-40B4-BE49-F238E27FC236}">
                <a16:creationId xmlns:a16="http://schemas.microsoft.com/office/drawing/2014/main" id="{15A86733-AF1B-4111-A893-E4DB13ED9222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35085" y="3353518"/>
            <a:ext cx="238420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Vorme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&amp;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uitvoering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</a:p>
        </p:txBody>
      </p:sp>
      <p:sp>
        <p:nvSpPr>
          <p:cNvPr id="12" name="Rectangle 11">
            <a:hlinkClick r:id="rId22" action="ppaction://hlinksldjump"/>
            <a:extLst>
              <a:ext uri="{FF2B5EF4-FFF2-40B4-BE49-F238E27FC236}">
                <a16:creationId xmlns:a16="http://schemas.microsoft.com/office/drawing/2014/main" id="{DB65AB04-D376-4E44-AEEF-9BE89CFD1849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371475" y="3353518"/>
            <a:ext cx="400110" cy="40011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3" name="Rectangle 12">
            <a:hlinkClick r:id="" action="ppaction://noaction"/>
            <a:extLst>
              <a:ext uri="{FF2B5EF4-FFF2-40B4-BE49-F238E27FC236}">
                <a16:creationId xmlns:a16="http://schemas.microsoft.com/office/drawing/2014/main" id="{7F1D4EC3-7269-4D44-BFAF-91762276B2A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31910" y="4277401"/>
            <a:ext cx="2067651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ntermitterend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</a:p>
        </p:txBody>
      </p:sp>
      <p:sp>
        <p:nvSpPr>
          <p:cNvPr id="14" name="Rectangle 13">
            <a:hlinkClick r:id="" action="ppaction://noaction"/>
            <a:extLst>
              <a:ext uri="{FF2B5EF4-FFF2-40B4-BE49-F238E27FC236}">
                <a16:creationId xmlns:a16="http://schemas.microsoft.com/office/drawing/2014/main" id="{0C4A67A7-8E45-4BAC-B060-C39EB4697874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368300" y="4277401"/>
            <a:ext cx="400110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.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5" name="Rectangle 14">
            <a:hlinkClick r:id="" action="ppaction://noaction"/>
            <a:extLst>
              <a:ext uri="{FF2B5EF4-FFF2-40B4-BE49-F238E27FC236}">
                <a16:creationId xmlns:a16="http://schemas.microsoft.com/office/drawing/2014/main" id="{40603682-3075-44D3-AAEF-2A0F27316280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831911" y="3812616"/>
            <a:ext cx="18441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Contin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</a:p>
        </p:txBody>
      </p:sp>
      <p:sp>
        <p:nvSpPr>
          <p:cNvPr id="16" name="Rectangle 15">
            <a:hlinkClick r:id="rId23" action="ppaction://hlinksldjump"/>
            <a:extLst>
              <a:ext uri="{FF2B5EF4-FFF2-40B4-BE49-F238E27FC236}">
                <a16:creationId xmlns:a16="http://schemas.microsoft.com/office/drawing/2014/main" id="{87F5DF6E-66E1-4E76-853D-E8EE2EB56DA0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368300" y="3812616"/>
            <a:ext cx="400110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.1</a:t>
            </a:r>
          </a:p>
        </p:txBody>
      </p:sp>
      <p:sp>
        <p:nvSpPr>
          <p:cNvPr id="47" name="Rectangle 46">
            <a:hlinkClick r:id="" action="ppaction://noaction"/>
            <a:extLst>
              <a:ext uri="{FF2B5EF4-FFF2-40B4-BE49-F238E27FC236}">
                <a16:creationId xmlns:a16="http://schemas.microsoft.com/office/drawing/2014/main" id="{EC64A62F-6BC2-43AD-924A-DC6AF3A1C68D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831910" y="4747008"/>
            <a:ext cx="2067651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Acuu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 </a:t>
            </a:r>
          </a:p>
        </p:txBody>
      </p:sp>
      <p:sp>
        <p:nvSpPr>
          <p:cNvPr id="48" name="Rectangle 47">
            <a:hlinkClick r:id="" action="ppaction://noaction"/>
            <a:extLst>
              <a:ext uri="{FF2B5EF4-FFF2-40B4-BE49-F238E27FC236}">
                <a16:creationId xmlns:a16="http://schemas.microsoft.com/office/drawing/2014/main" id="{64A5D01F-26AC-43E7-AB7A-54DC202B7751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368300" y="4747008"/>
            <a:ext cx="400110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.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3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1616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7657D-2CB4-4FFA-A7BB-1473498BE1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evrouw B</a:t>
            </a:r>
            <a:endParaRPr lang="ru-RU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06B4F05-D01F-47B2-B82E-778132F8B97E}"/>
              </a:ext>
            </a:extLst>
          </p:cNvPr>
          <p:cNvSpPr txBox="1"/>
          <p:nvPr/>
        </p:nvSpPr>
        <p:spPr>
          <a:xfrm>
            <a:off x="4305300" y="1449388"/>
            <a:ext cx="3578225" cy="4216539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69D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80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jaar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69D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VG: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gemetastaseerd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mammacarcinoom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,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progressi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,        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gee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anti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kanker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behandeling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      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69D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Actuee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: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pneumoni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met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respiratoir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nsufficiëntie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ovv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pt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gee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behandeling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met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antibiotica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69D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ecursu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:</a:t>
            </a:r>
            <a:b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verdere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achteruitgang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,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eliran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69D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Beleid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: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tart 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edatie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volgen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protocol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4F25F72E-BB04-4D4F-82C6-C51C009DC444}"/>
              </a:ext>
            </a:extLst>
          </p:cNvPr>
          <p:cNvGrpSpPr/>
          <p:nvPr/>
        </p:nvGrpSpPr>
        <p:grpSpPr>
          <a:xfrm>
            <a:off x="8148683" y="1449388"/>
            <a:ext cx="3774989" cy="1789643"/>
            <a:chOff x="8148683" y="1449388"/>
            <a:chExt cx="3774989" cy="1789643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3C05022-17E2-4723-9232-33D41B527C09}"/>
                </a:ext>
              </a:extLst>
            </p:cNvPr>
            <p:cNvSpPr/>
            <p:nvPr/>
          </p:nvSpPr>
          <p:spPr>
            <a:xfrm>
              <a:off x="8248652" y="1449388"/>
              <a:ext cx="3575050" cy="1789643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1449627-7193-42DC-A74D-D3CCC856048A}"/>
                </a:ext>
              </a:extLst>
            </p:cNvPr>
            <p:cNvSpPr txBox="1"/>
            <p:nvPr/>
          </p:nvSpPr>
          <p:spPr>
            <a:xfrm>
              <a:off x="8876395" y="1653272"/>
              <a:ext cx="2944129" cy="1261884"/>
            </a:xfrm>
            <a:prstGeom prst="rect">
              <a:avLst/>
            </a:prstGeom>
            <a:noFill/>
          </p:spPr>
          <p:txBody>
            <a:bodyPr wrap="square" lIns="10800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8424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Wat vinden jullie van </a:t>
              </a:r>
              <a:br>
                <a:rPr kumimoji="0" lang="nl-NL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8424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</a:br>
              <a:r>
                <a:rPr kumimoji="0" lang="nl-NL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8424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de statusvoering?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8424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Welke informatie heb </a:t>
              </a:r>
              <a:br>
                <a:rPr kumimoji="0" lang="nl-NL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8424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</a:br>
              <a:r>
                <a:rPr kumimoji="0" lang="nl-NL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8424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je nog nodig?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942531FE-4FB8-4646-B99E-3146BEEE4C27}"/>
                </a:ext>
              </a:extLst>
            </p:cNvPr>
            <p:cNvSpPr/>
            <p:nvPr/>
          </p:nvSpPr>
          <p:spPr>
            <a:xfrm>
              <a:off x="8346257" y="1653273"/>
              <a:ext cx="536340" cy="53634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8FBA4FF0-4BA5-41B7-8D59-160F6496E71E}"/>
                </a:ext>
              </a:extLst>
            </p:cNvPr>
            <p:cNvCxnSpPr>
              <a:cxnSpLocks/>
            </p:cNvCxnSpPr>
            <p:nvPr/>
          </p:nvCxnSpPr>
          <p:spPr>
            <a:xfrm>
              <a:off x="8148683" y="1449388"/>
              <a:ext cx="3774989" cy="0"/>
            </a:xfrm>
            <a:prstGeom prst="line">
              <a:avLst/>
            </a:prstGeom>
            <a:ln w="28575" cap="rnd">
              <a:solidFill>
                <a:schemeClr val="accent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3FC6E47D-E7BF-4AF6-A276-E05860E0B1C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452427" y="1769228"/>
              <a:ext cx="324000" cy="304430"/>
            </a:xfrm>
            <a:prstGeom prst="rect">
              <a:avLst/>
            </a:prstGeom>
          </p:spPr>
        </p:pic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4E6EACBB-1A78-4D7E-86FE-A6D4BCC89F10}"/>
                </a:ext>
              </a:extLst>
            </p:cNvPr>
            <p:cNvSpPr/>
            <p:nvPr/>
          </p:nvSpPr>
          <p:spPr>
            <a:xfrm>
              <a:off x="8346257" y="2360283"/>
              <a:ext cx="536340" cy="53634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2DCBC5D5-C0E3-422A-A1B5-FCA649E6750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8452427" y="2476238"/>
              <a:ext cx="324000" cy="304430"/>
            </a:xfrm>
            <a:prstGeom prst="rect">
              <a:avLst/>
            </a:prstGeom>
          </p:spPr>
        </p:pic>
      </p:grp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47BF6253-DB4B-4816-9E06-D85EDC5B7BDC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90" r="23190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592665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7657D-2CB4-4FFA-A7BB-1473498BE1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ossiervoering</a:t>
            </a:r>
            <a:r>
              <a:rPr lang="en-US" dirty="0"/>
              <a:t> </a:t>
            </a:r>
            <a:endParaRPr lang="ru-RU" dirty="0"/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47BF6253-DB4B-4816-9E06-D85EDC5B7BDC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190" r="23190"/>
          <a:stretch>
            <a:fillRect/>
          </a:stretch>
        </p:blipFill>
        <p:spPr/>
      </p:pic>
      <p:grpSp>
        <p:nvGrpSpPr>
          <p:cNvPr id="43" name="Group 42">
            <a:extLst>
              <a:ext uri="{FF2B5EF4-FFF2-40B4-BE49-F238E27FC236}">
                <a16:creationId xmlns:a16="http://schemas.microsoft.com/office/drawing/2014/main" id="{B4551BB9-DAFB-4E71-87D3-99026A333D22}"/>
              </a:ext>
            </a:extLst>
          </p:cNvPr>
          <p:cNvGrpSpPr/>
          <p:nvPr/>
        </p:nvGrpSpPr>
        <p:grpSpPr>
          <a:xfrm>
            <a:off x="4305298" y="2494705"/>
            <a:ext cx="7515226" cy="2589266"/>
            <a:chOff x="4305298" y="2632941"/>
            <a:chExt cx="7515226" cy="2589266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9A88010-7D99-47A9-846E-2C24ACE1C462}"/>
                </a:ext>
              </a:extLst>
            </p:cNvPr>
            <p:cNvSpPr txBox="1"/>
            <p:nvPr/>
          </p:nvSpPr>
          <p:spPr>
            <a:xfrm>
              <a:off x="4305299" y="2749735"/>
              <a:ext cx="7515225" cy="2472472"/>
            </a:xfrm>
            <a:prstGeom prst="rect">
              <a:avLst/>
            </a:prstGeom>
            <a:noFill/>
          </p:spPr>
          <p:txBody>
            <a:bodyPr wrap="square" numCol="2" spcCol="360000">
              <a:spAutoFit/>
            </a:bodyPr>
            <a:lstStyle/>
            <a:p>
              <a:pPr marL="630238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>
                  <a:srgbClr val="769D94"/>
                </a:buClr>
                <a:buSzTx/>
                <a:buFontTx/>
                <a:buNone/>
                <a:tabLst/>
                <a:defRPr/>
              </a:pPr>
              <a:r>
                <a: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201E1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Levensverwachting </a:t>
              </a:r>
              <a:br>
                <a: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201E1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</a:br>
              <a:r>
                <a: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201E1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en gezondheidstoestand</a:t>
              </a:r>
            </a:p>
            <a:p>
              <a:pPr marL="630238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>
                  <a:srgbClr val="769D94"/>
                </a:buClr>
                <a:buSzTx/>
                <a:buFontTx/>
                <a:buNone/>
                <a:tabLst/>
                <a:defRPr/>
              </a:pPr>
              <a:r>
                <a: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201E1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Indicatie voor palliatieve sedatie: benoemen refractair symptoom of syndroom</a:t>
              </a:r>
            </a:p>
            <a:p>
              <a:pPr marL="630238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>
                  <a:srgbClr val="769D94"/>
                </a:buClr>
                <a:buSzTx/>
                <a:buFontTx/>
                <a:buNone/>
                <a:tabLst/>
                <a:defRPr/>
              </a:pPr>
              <a:r>
                <a: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201E1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Waarom is het refractair maw: </a:t>
              </a:r>
              <a:br>
                <a: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201E1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</a:br>
              <a:r>
                <a: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201E1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wat is er al geprobeerd?</a:t>
              </a:r>
            </a:p>
            <a:p>
              <a:pPr marL="630238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600"/>
                </a:spcAft>
                <a:buClr>
                  <a:srgbClr val="769D94"/>
                </a:buClr>
                <a:buSzTx/>
                <a:buFontTx/>
                <a:buNone/>
                <a:tabLst/>
                <a:defRPr/>
              </a:pPr>
              <a:r>
                <a: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201E1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Mening patiënt en/of naasten</a:t>
              </a:r>
            </a:p>
            <a:p>
              <a:pPr marL="630238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600"/>
                </a:spcAft>
                <a:buClr>
                  <a:srgbClr val="769D94"/>
                </a:buClr>
                <a:buSzTx/>
                <a:buFontTx/>
                <a:buNone/>
                <a:tabLst/>
                <a:defRPr/>
              </a:pPr>
              <a:r>
                <a: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201E1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Evt uitkomst consultatie</a:t>
              </a:r>
            </a:p>
            <a:p>
              <a:pPr marL="630238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1600"/>
                </a:spcAft>
                <a:buClr>
                  <a:srgbClr val="769D94"/>
                </a:buClr>
                <a:buSzTx/>
                <a:buFontTx/>
                <a:buNone/>
                <a:tabLst/>
                <a:defRPr/>
              </a:pPr>
              <a:r>
                <a: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201E1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De middelen </a:t>
              </a:r>
              <a:br>
                <a: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201E1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</a:br>
              <a:r>
                <a: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201E1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en aanvullend beleid </a:t>
              </a:r>
              <a:br>
                <a: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201E1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</a:br>
              <a:r>
                <a:rPr kumimoji="0" lang="nl-NL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201E1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(pro-actief: als dit, dan dat)</a:t>
              </a:r>
            </a:p>
          </p:txBody>
        </p:sp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979F3B60-64E9-4AF7-B229-3F646BC493FC}"/>
                </a:ext>
              </a:extLst>
            </p:cNvPr>
            <p:cNvGrpSpPr/>
            <p:nvPr/>
          </p:nvGrpSpPr>
          <p:grpSpPr>
            <a:xfrm>
              <a:off x="4305298" y="2749189"/>
              <a:ext cx="536340" cy="536340"/>
              <a:chOff x="4305298" y="2713675"/>
              <a:chExt cx="536340" cy="536340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A7A9F213-3E36-49F6-B317-C0E14050DBA6}"/>
                  </a:ext>
                </a:extLst>
              </p:cNvPr>
              <p:cNvSpPr/>
              <p:nvPr/>
            </p:nvSpPr>
            <p:spPr>
              <a:xfrm>
                <a:off x="4305298" y="2713675"/>
                <a:ext cx="536340" cy="53634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endParaRPr>
              </a:p>
            </p:txBody>
          </p:sp>
          <p:pic>
            <p:nvPicPr>
              <p:cNvPr id="29" name="Graphic 28">
                <a:extLst>
                  <a:ext uri="{FF2B5EF4-FFF2-40B4-BE49-F238E27FC236}">
                    <a16:creationId xmlns:a16="http://schemas.microsoft.com/office/drawing/2014/main" id="{CD055429-DE2B-4738-B351-A968B19554B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4420468" y="2828845"/>
                <a:ext cx="306000" cy="306000"/>
              </a:xfrm>
              <a:prstGeom prst="rect">
                <a:avLst/>
              </a:prstGeom>
            </p:spPr>
          </p:pic>
        </p:grpSp>
        <p:grpSp>
          <p:nvGrpSpPr>
            <p:cNvPr id="37" name="Group 36">
              <a:extLst>
                <a:ext uri="{FF2B5EF4-FFF2-40B4-BE49-F238E27FC236}">
                  <a16:creationId xmlns:a16="http://schemas.microsoft.com/office/drawing/2014/main" id="{86F91B45-8223-496E-A809-11CD73308A6C}"/>
                </a:ext>
              </a:extLst>
            </p:cNvPr>
            <p:cNvGrpSpPr/>
            <p:nvPr/>
          </p:nvGrpSpPr>
          <p:grpSpPr>
            <a:xfrm>
              <a:off x="4305298" y="3466955"/>
              <a:ext cx="536340" cy="536340"/>
              <a:chOff x="4305298" y="3383080"/>
              <a:chExt cx="536340" cy="536340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CEE74B06-91D9-49C9-822A-A703A514C5E9}"/>
                  </a:ext>
                </a:extLst>
              </p:cNvPr>
              <p:cNvSpPr/>
              <p:nvPr/>
            </p:nvSpPr>
            <p:spPr>
              <a:xfrm>
                <a:off x="4305298" y="3383080"/>
                <a:ext cx="536340" cy="53634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endParaRPr>
              </a:p>
            </p:txBody>
          </p:sp>
          <p:pic>
            <p:nvPicPr>
              <p:cNvPr id="6" name="Graphic 5">
                <a:extLst>
                  <a:ext uri="{FF2B5EF4-FFF2-40B4-BE49-F238E27FC236}">
                    <a16:creationId xmlns:a16="http://schemas.microsoft.com/office/drawing/2014/main" id="{A3D8DB28-0787-4E1B-BDB0-BDCC6EA2A33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4455650" y="3489250"/>
                <a:ext cx="235636" cy="324000"/>
              </a:xfrm>
              <a:prstGeom prst="rect">
                <a:avLst/>
              </a:prstGeom>
            </p:spPr>
          </p:pic>
        </p:grpSp>
        <p:grpSp>
          <p:nvGrpSpPr>
            <p:cNvPr id="41" name="Group 40">
              <a:extLst>
                <a:ext uri="{FF2B5EF4-FFF2-40B4-BE49-F238E27FC236}">
                  <a16:creationId xmlns:a16="http://schemas.microsoft.com/office/drawing/2014/main" id="{BDAA7F38-C667-4322-AEAD-3D3DB67A76B0}"/>
                </a:ext>
              </a:extLst>
            </p:cNvPr>
            <p:cNvGrpSpPr/>
            <p:nvPr/>
          </p:nvGrpSpPr>
          <p:grpSpPr>
            <a:xfrm>
              <a:off x="8245475" y="3351937"/>
              <a:ext cx="536340" cy="536340"/>
              <a:chOff x="8245475" y="3313252"/>
              <a:chExt cx="536340" cy="536340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F6FE26E8-8043-462A-854C-2ECA39C3278A}"/>
                  </a:ext>
                </a:extLst>
              </p:cNvPr>
              <p:cNvSpPr/>
              <p:nvPr/>
            </p:nvSpPr>
            <p:spPr>
              <a:xfrm>
                <a:off x="8245475" y="3313252"/>
                <a:ext cx="536340" cy="53634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endParaRPr>
              </a:p>
            </p:txBody>
          </p:sp>
          <p:pic>
            <p:nvPicPr>
              <p:cNvPr id="10" name="Graphic 9">
                <a:extLst>
                  <a:ext uri="{FF2B5EF4-FFF2-40B4-BE49-F238E27FC236}">
                    <a16:creationId xmlns:a16="http://schemas.microsoft.com/office/drawing/2014/main" id="{D4407C76-E76B-4AE5-B544-41D5845CC7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96DAC541-7B7A-43D3-8B79-37D633B846F1}">
                    <asvg:svgBlip xmlns:asvg="http://schemas.microsoft.com/office/drawing/2016/SVG/main" r:embed="rId8"/>
                  </a:ext>
                </a:extLst>
              </a:blip>
              <a:stretch>
                <a:fillRect/>
              </a:stretch>
            </p:blipFill>
            <p:spPr>
              <a:xfrm>
                <a:off x="8360645" y="3437663"/>
                <a:ext cx="306000" cy="287517"/>
              </a:xfrm>
              <a:prstGeom prst="rect">
                <a:avLst/>
              </a:prstGeom>
            </p:spPr>
          </p:pic>
        </p:grpSp>
        <p:grpSp>
          <p:nvGrpSpPr>
            <p:cNvPr id="38" name="Group 37">
              <a:extLst>
                <a:ext uri="{FF2B5EF4-FFF2-40B4-BE49-F238E27FC236}">
                  <a16:creationId xmlns:a16="http://schemas.microsoft.com/office/drawing/2014/main" id="{208880BC-1090-434E-AD33-ADB912898E58}"/>
                </a:ext>
              </a:extLst>
            </p:cNvPr>
            <p:cNvGrpSpPr/>
            <p:nvPr/>
          </p:nvGrpSpPr>
          <p:grpSpPr>
            <a:xfrm>
              <a:off x="4305298" y="4390514"/>
              <a:ext cx="536340" cy="536340"/>
              <a:chOff x="4305298" y="4185550"/>
              <a:chExt cx="536340" cy="536340"/>
            </a:xfrm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83707DD2-89B0-4423-B2B6-CD7494A2B0E5}"/>
                  </a:ext>
                </a:extLst>
              </p:cNvPr>
              <p:cNvSpPr/>
              <p:nvPr/>
            </p:nvSpPr>
            <p:spPr>
              <a:xfrm>
                <a:off x="4305298" y="4185550"/>
                <a:ext cx="536340" cy="53634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endParaRPr>
              </a:p>
            </p:txBody>
          </p:sp>
          <p:pic>
            <p:nvPicPr>
              <p:cNvPr id="30" name="Graphic 29">
                <a:extLst>
                  <a:ext uri="{FF2B5EF4-FFF2-40B4-BE49-F238E27FC236}">
                    <a16:creationId xmlns:a16="http://schemas.microsoft.com/office/drawing/2014/main" id="{3B0BF9B6-A9A4-4185-99DA-A721F98CDCF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>
                <a:extLs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4420468" y="4338970"/>
                <a:ext cx="306000" cy="229500"/>
              </a:xfrm>
              <a:prstGeom prst="rect">
                <a:avLst/>
              </a:prstGeom>
            </p:spPr>
          </p:pic>
        </p:grp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1E7F2EAA-C4E2-44B7-9777-610DAA6E512D}"/>
                </a:ext>
              </a:extLst>
            </p:cNvPr>
            <p:cNvGrpSpPr/>
            <p:nvPr/>
          </p:nvGrpSpPr>
          <p:grpSpPr>
            <a:xfrm>
              <a:off x="8245475" y="2632941"/>
              <a:ext cx="536340" cy="536340"/>
              <a:chOff x="8245475" y="2632941"/>
              <a:chExt cx="536340" cy="536340"/>
            </a:xfrm>
          </p:grpSpPr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F39C7385-95B8-458A-A0DA-375E9C6A9CD9}"/>
                  </a:ext>
                </a:extLst>
              </p:cNvPr>
              <p:cNvSpPr/>
              <p:nvPr/>
            </p:nvSpPr>
            <p:spPr>
              <a:xfrm>
                <a:off x="8245475" y="2632941"/>
                <a:ext cx="536340" cy="53634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endParaRPr>
              </a:p>
            </p:txBody>
          </p:sp>
          <p:pic>
            <p:nvPicPr>
              <p:cNvPr id="31" name="Graphic 30">
                <a:extLst>
                  <a:ext uri="{FF2B5EF4-FFF2-40B4-BE49-F238E27FC236}">
                    <a16:creationId xmlns:a16="http://schemas.microsoft.com/office/drawing/2014/main" id="{A4718FA9-87E7-4B2B-945C-54F49AA482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8360645" y="2748111"/>
                <a:ext cx="306000" cy="306000"/>
              </a:xfrm>
              <a:prstGeom prst="rect">
                <a:avLst/>
              </a:prstGeom>
            </p:spPr>
          </p:pic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5FA397F0-B5AF-4891-9942-A1FE25DE3D52}"/>
                </a:ext>
              </a:extLst>
            </p:cNvPr>
            <p:cNvGrpSpPr/>
            <p:nvPr/>
          </p:nvGrpSpPr>
          <p:grpSpPr>
            <a:xfrm>
              <a:off x="8245475" y="4174549"/>
              <a:ext cx="536340" cy="536340"/>
              <a:chOff x="8245475" y="4083710"/>
              <a:chExt cx="536340" cy="536340"/>
            </a:xfrm>
          </p:grpSpPr>
          <p:sp>
            <p:nvSpPr>
              <p:cNvPr id="28" name="Oval 27">
                <a:extLst>
                  <a:ext uri="{FF2B5EF4-FFF2-40B4-BE49-F238E27FC236}">
                    <a16:creationId xmlns:a16="http://schemas.microsoft.com/office/drawing/2014/main" id="{4AAAF397-2657-4898-938D-B83DD90BCFC0}"/>
                  </a:ext>
                </a:extLst>
              </p:cNvPr>
              <p:cNvSpPr/>
              <p:nvPr/>
            </p:nvSpPr>
            <p:spPr>
              <a:xfrm>
                <a:off x="8245475" y="4083710"/>
                <a:ext cx="536340" cy="536340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endParaRPr>
              </a:p>
            </p:txBody>
          </p:sp>
          <p:pic>
            <p:nvPicPr>
              <p:cNvPr id="33" name="Graphic 32">
                <a:extLst>
                  <a:ext uri="{FF2B5EF4-FFF2-40B4-BE49-F238E27FC236}">
                    <a16:creationId xmlns:a16="http://schemas.microsoft.com/office/drawing/2014/main" id="{7B9AB405-6F80-4C15-B5CA-548ADDAA4F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>
                <a:extLst>
                  <a:ext uri="{96DAC541-7B7A-43D3-8B79-37D633B846F1}">
                    <asvg:svgBlip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8395827" y="4176970"/>
                <a:ext cx="235636" cy="324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9330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7657D-2CB4-4FFA-A7BB-1473498BE1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47675"/>
            <a:r>
              <a:rPr lang="en-US" dirty="0"/>
              <a:t>Casus 1</a:t>
            </a:r>
            <a:endParaRPr lang="ru-RU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06B4F05-D01F-47B2-B82E-778132F8B97E}"/>
              </a:ext>
            </a:extLst>
          </p:cNvPr>
          <p:cNvSpPr txBox="1"/>
          <p:nvPr/>
        </p:nvSpPr>
        <p:spPr>
          <a:xfrm>
            <a:off x="4305300" y="1449388"/>
            <a:ext cx="3578225" cy="323165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69D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Man van 67 met gemetastaseerd pancreascarcinoom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69D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Hij heeft heel veel pijn door </a:t>
            </a:r>
            <a:br>
              <a: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e </a:t>
            </a: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kanker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69D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Er is al heel veel pijnmedicatie geprobeerd, inclusief </a:t>
            </a:r>
            <a:b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een coeliacusblokkade, </a:t>
            </a:r>
            <a:b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maar niets werkt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69D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Hij wil niet meer verder en vraagt om "het slaapinfuus"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9D25EDF2-BBC4-4241-95D4-2ED65F6F59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3291" y="415382"/>
            <a:ext cx="285120" cy="3168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4F25F72E-BB04-4D4F-82C6-C51C009DC444}"/>
              </a:ext>
            </a:extLst>
          </p:cNvPr>
          <p:cNvGrpSpPr/>
          <p:nvPr/>
        </p:nvGrpSpPr>
        <p:grpSpPr>
          <a:xfrm>
            <a:off x="8148683" y="1449388"/>
            <a:ext cx="3774989" cy="1016101"/>
            <a:chOff x="8148683" y="1449388"/>
            <a:chExt cx="3774989" cy="1016101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33C05022-17E2-4723-9232-33D41B527C09}"/>
                </a:ext>
              </a:extLst>
            </p:cNvPr>
            <p:cNvSpPr/>
            <p:nvPr/>
          </p:nvSpPr>
          <p:spPr>
            <a:xfrm>
              <a:off x="8248652" y="1449388"/>
              <a:ext cx="3575050" cy="10161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F1449627-7193-42DC-A74D-D3CCC856048A}"/>
                </a:ext>
              </a:extLst>
            </p:cNvPr>
            <p:cNvSpPr txBox="1"/>
            <p:nvPr/>
          </p:nvSpPr>
          <p:spPr>
            <a:xfrm>
              <a:off x="8876395" y="1644444"/>
              <a:ext cx="2944129" cy="553998"/>
            </a:xfrm>
            <a:prstGeom prst="rect">
              <a:avLst/>
            </a:prstGeom>
            <a:noFill/>
          </p:spPr>
          <p:txBody>
            <a:bodyPr wrap="square" lIns="10800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8424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Wat denk je en wat </a:t>
              </a:r>
              <a:br>
                <a:rPr kumimoji="0" lang="nl-NL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8424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</a:br>
              <a:r>
                <a:rPr kumimoji="0" lang="nl-NL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484240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ga je doen?</a:t>
              </a: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942531FE-4FB8-4646-B99E-3146BEEE4C27}"/>
                </a:ext>
              </a:extLst>
            </p:cNvPr>
            <p:cNvSpPr/>
            <p:nvPr/>
          </p:nvSpPr>
          <p:spPr>
            <a:xfrm>
              <a:off x="8346257" y="1653273"/>
              <a:ext cx="536340" cy="53634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8FBA4FF0-4BA5-41B7-8D59-160F6496E71E}"/>
                </a:ext>
              </a:extLst>
            </p:cNvPr>
            <p:cNvCxnSpPr>
              <a:cxnSpLocks/>
            </p:cNvCxnSpPr>
            <p:nvPr/>
          </p:nvCxnSpPr>
          <p:spPr>
            <a:xfrm>
              <a:off x="8148683" y="1449388"/>
              <a:ext cx="3774989" cy="0"/>
            </a:xfrm>
            <a:prstGeom prst="line">
              <a:avLst/>
            </a:prstGeom>
            <a:ln w="28575" cap="rnd">
              <a:solidFill>
                <a:schemeClr val="accent2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8" name="Graphic 17">
              <a:extLst>
                <a:ext uri="{FF2B5EF4-FFF2-40B4-BE49-F238E27FC236}">
                  <a16:creationId xmlns:a16="http://schemas.microsoft.com/office/drawing/2014/main" id="{3FC6E47D-E7BF-4AF6-A276-E05860E0B1C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8452427" y="1769228"/>
              <a:ext cx="324000" cy="304430"/>
            </a:xfrm>
            <a:prstGeom prst="rect">
              <a:avLst/>
            </a:prstGeom>
          </p:spPr>
        </p:pic>
      </p:grpSp>
      <p:pic>
        <p:nvPicPr>
          <p:cNvPr id="17" name="Picture Placeholder 5">
            <a:extLst>
              <a:ext uri="{FF2B5EF4-FFF2-40B4-BE49-F238E27FC236}">
                <a16:creationId xmlns:a16="http://schemas.microsoft.com/office/drawing/2014/main" id="{F885D8D3-BC08-42BB-815F-1A0BE099CA57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" b="99"/>
          <a:stretch>
            <a:fillRect/>
          </a:stretch>
        </p:blipFill>
        <p:spPr>
          <a:xfrm>
            <a:off x="371475" y="1449388"/>
            <a:ext cx="3571875" cy="4679950"/>
          </a:xfrm>
        </p:spPr>
      </p:pic>
    </p:spTree>
    <p:extLst>
      <p:ext uri="{BB962C8B-B14F-4D97-AF65-F5344CB8AC3E}">
        <p14:creationId xmlns:p14="http://schemas.microsoft.com/office/powerpoint/2010/main" val="769541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27">
            <a:extLst>
              <a:ext uri="{FF2B5EF4-FFF2-40B4-BE49-F238E27FC236}">
                <a16:creationId xmlns:a16="http://schemas.microsoft.com/office/drawing/2014/main" id="{E92CB2DA-CDA3-408A-B856-13A690A33F8D}"/>
              </a:ext>
            </a:extLst>
          </p:cNvPr>
          <p:cNvSpPr txBox="1"/>
          <p:nvPr/>
        </p:nvSpPr>
        <p:spPr>
          <a:xfrm>
            <a:off x="8245478" y="1992359"/>
            <a:ext cx="3578226" cy="3323987"/>
          </a:xfrm>
          <a:prstGeom prst="rect">
            <a:avLst/>
          </a:prstGeom>
          <a:noFill/>
        </p:spPr>
        <p:txBody>
          <a:bodyPr wrap="square" tIns="0" rIns="0" bIns="0" numCol="1" spcCol="360000">
            <a:spAutoFit/>
          </a:bodyPr>
          <a:lstStyle/>
          <a:p>
            <a:pPr marL="6302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769D94"/>
              </a:buClr>
              <a:buSzTx/>
              <a:buFontTx/>
              <a:buNone/>
              <a:tabLst/>
              <a:defRPr/>
            </a:pPr>
            <a:r>
              <a:rPr kumimoji="0" lang="nl-NL" sz="1800" b="0" i="1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Vraag 3: </a:t>
            </a: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hoe start je op? </a:t>
            </a:r>
            <a:b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en hoe verder?</a:t>
            </a:r>
          </a:p>
          <a:p>
            <a:pPr marL="6302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769D94"/>
              </a:buClr>
              <a:buSzTx/>
              <a:buFontTx/>
              <a:buNone/>
              <a:tabLst/>
              <a:defRPr/>
            </a:pPr>
            <a:r>
              <a:rPr kumimoji="0" lang="nl-NL" sz="1800" b="0" i="1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Vraag 4: </a:t>
            </a: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waar verwacht </a:t>
            </a:r>
            <a:b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je mogelijkerwijs tegen </a:t>
            </a:r>
            <a:b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aan te lopen?</a:t>
            </a:r>
          </a:p>
          <a:p>
            <a:pPr marL="6302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769D94"/>
              </a:buClr>
              <a:buSzTx/>
              <a:buFontTx/>
              <a:buNone/>
              <a:tabLst/>
              <a:defRPr/>
            </a:pPr>
            <a:r>
              <a:rPr kumimoji="0" lang="nl-NL" sz="1800" b="0" i="1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Vraag 5: </a:t>
            </a: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waarom ga je wel of niet akkoord met </a:t>
            </a:r>
            <a:b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e opdracht van </a:t>
            </a:r>
            <a:r>
              <a: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e collega: </a:t>
            </a: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“palliatieve </a:t>
            </a:r>
            <a:r>
              <a: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edatie volgens</a:t>
            </a:r>
            <a:br>
              <a: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 protocol</a:t>
            </a: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”?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E77657D-2CB4-4FFA-A7BB-1473498BE1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47675"/>
            <a:r>
              <a:rPr lang="en-US" dirty="0"/>
              <a:t>Casus 1</a:t>
            </a:r>
            <a:endParaRPr lang="ru-RU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9D25EDF2-BBC4-4241-95D4-2ED65F6F59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3291" y="415382"/>
            <a:ext cx="285120" cy="316800"/>
          </a:xfrm>
          <a:prstGeom prst="rect">
            <a:avLst/>
          </a:prstGeom>
        </p:spPr>
      </p:pic>
      <p:pic>
        <p:nvPicPr>
          <p:cNvPr id="17" name="Picture Placeholder 5">
            <a:extLst>
              <a:ext uri="{FF2B5EF4-FFF2-40B4-BE49-F238E27FC236}">
                <a16:creationId xmlns:a16="http://schemas.microsoft.com/office/drawing/2014/main" id="{F885D8D3-BC08-42BB-815F-1A0BE099CA57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" b="99"/>
          <a:stretch>
            <a:fillRect/>
          </a:stretch>
        </p:blipFill>
        <p:spPr>
          <a:xfrm>
            <a:off x="371475" y="1449388"/>
            <a:ext cx="3571875" cy="4679950"/>
          </a:xfr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12316D13-759A-4007-BD71-D87C89FB6944}"/>
              </a:ext>
            </a:extLst>
          </p:cNvPr>
          <p:cNvSpPr txBox="1"/>
          <p:nvPr/>
        </p:nvSpPr>
        <p:spPr>
          <a:xfrm>
            <a:off x="4305300" y="1992359"/>
            <a:ext cx="3578226" cy="1892826"/>
          </a:xfrm>
          <a:prstGeom prst="rect">
            <a:avLst/>
          </a:prstGeom>
          <a:noFill/>
        </p:spPr>
        <p:txBody>
          <a:bodyPr wrap="square" tIns="0" rIns="0" bIns="0" numCol="1" spcCol="360000">
            <a:spAutoFit/>
          </a:bodyPr>
          <a:lstStyle/>
          <a:p>
            <a:pPr marL="6302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769D94"/>
              </a:buClr>
              <a:buSzTx/>
              <a:buFontTx/>
              <a:buNone/>
              <a:tabLst/>
              <a:defRPr/>
            </a:pPr>
            <a:r>
              <a:rPr kumimoji="0" lang="nl-NL" sz="1800" b="0" i="1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Vraag 1: </a:t>
            </a: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voldoe je aan </a:t>
            </a:r>
            <a:b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e voorwaarde? </a:t>
            </a:r>
            <a:b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(verwacht </a:t>
            </a:r>
            <a:r>
              <a: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overlijden binnen</a:t>
            </a:r>
            <a:br>
              <a: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 2 </a:t>
            </a: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weken?)</a:t>
            </a:r>
          </a:p>
          <a:p>
            <a:pPr marL="6302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769D94"/>
              </a:buClr>
              <a:buSzTx/>
              <a:buFontTx/>
              <a:buNone/>
              <a:tabLst/>
              <a:defRPr/>
            </a:pPr>
            <a:r>
              <a:rPr kumimoji="0" lang="nl-NL" sz="1800" b="0" i="1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Vraag 2: </a:t>
            </a: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s er een indicatie? (refractair symptoom?)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B58FA1A-1270-4626-ACD4-90FF9302C19A}"/>
              </a:ext>
            </a:extLst>
          </p:cNvPr>
          <p:cNvSpPr txBox="1"/>
          <p:nvPr/>
        </p:nvSpPr>
        <p:spPr>
          <a:xfrm>
            <a:off x="4305299" y="1449388"/>
            <a:ext cx="7515225" cy="249299"/>
          </a:xfrm>
          <a:prstGeom prst="rect">
            <a:avLst/>
          </a:prstGeom>
          <a:noFill/>
        </p:spPr>
        <p:txBody>
          <a:bodyPr wrap="square" lIns="36000" tIns="0" rIns="0" bIns="0" numCol="1" spcCol="360000">
            <a:spAutoFit/>
          </a:bodyPr>
          <a:lstStyle/>
          <a:p>
            <a:pPr marL="360" marR="0" lvl="0" indent="0" algn="l" defTabSz="914400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-1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Lato"/>
                <a:cs typeface="+mn-cs"/>
              </a:rPr>
              <a:t>Wat bedoelt hij nu eigenlijk met </a:t>
            </a:r>
            <a:r>
              <a:rPr kumimoji="0" lang="nl-NL" sz="1800" b="1" i="0" u="none" strike="noStrike" kern="1200" cap="none" spc="-1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Lato"/>
                <a:cs typeface="+mn-cs"/>
              </a:rPr>
              <a:t>“dat slaapinfuus”</a:t>
            </a:r>
            <a:endParaRPr kumimoji="0" lang="nl-NL" sz="1800" b="1" i="0" u="none" strike="noStrike" kern="1200" cap="none" spc="-1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E9A3D98-C3EB-4DED-96E4-84D9B51D0855}"/>
              </a:ext>
            </a:extLst>
          </p:cNvPr>
          <p:cNvGrpSpPr/>
          <p:nvPr/>
        </p:nvGrpSpPr>
        <p:grpSpPr>
          <a:xfrm>
            <a:off x="4305298" y="1992359"/>
            <a:ext cx="536340" cy="536340"/>
            <a:chOff x="4305298" y="2541008"/>
            <a:chExt cx="536340" cy="536340"/>
          </a:xfrm>
        </p:grpSpPr>
        <p:sp>
          <p:nvSpPr>
            <p:cNvPr id="20" name="Oval 19">
              <a:extLst>
                <a:ext uri="{FF2B5EF4-FFF2-40B4-BE49-F238E27FC236}">
                  <a16:creationId xmlns:a16="http://schemas.microsoft.com/office/drawing/2014/main" id="{16704AC0-9FC2-4D9A-9182-8B292E8ED292}"/>
                </a:ext>
              </a:extLst>
            </p:cNvPr>
            <p:cNvSpPr/>
            <p:nvPr/>
          </p:nvSpPr>
          <p:spPr>
            <a:xfrm>
              <a:off x="4305298" y="2541008"/>
              <a:ext cx="536340" cy="53634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6D7D4C2B-5CE8-4DE5-BD6C-04FE88394D0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411468" y="2656963"/>
              <a:ext cx="324000" cy="304430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85126D2B-1764-4B61-B8C9-CBF5471EE60A}"/>
              </a:ext>
            </a:extLst>
          </p:cNvPr>
          <p:cNvGrpSpPr/>
          <p:nvPr/>
        </p:nvGrpSpPr>
        <p:grpSpPr>
          <a:xfrm>
            <a:off x="4305298" y="3334692"/>
            <a:ext cx="536340" cy="536340"/>
            <a:chOff x="4305298" y="3255662"/>
            <a:chExt cx="536340" cy="536340"/>
          </a:xfrm>
        </p:grpSpPr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ABC2305D-3DA4-467B-B410-95E8F5C39899}"/>
                </a:ext>
              </a:extLst>
            </p:cNvPr>
            <p:cNvSpPr/>
            <p:nvPr/>
          </p:nvSpPr>
          <p:spPr>
            <a:xfrm>
              <a:off x="4305298" y="3255662"/>
              <a:ext cx="536340" cy="53634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9B14AC71-82F8-4EAE-8020-7E45F3614EC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411468" y="3371617"/>
              <a:ext cx="324000" cy="304430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652028F3-1B1C-4788-87C3-67080A311C89}"/>
              </a:ext>
            </a:extLst>
          </p:cNvPr>
          <p:cNvGrpSpPr/>
          <p:nvPr/>
        </p:nvGrpSpPr>
        <p:grpSpPr>
          <a:xfrm>
            <a:off x="8245475" y="3782375"/>
            <a:ext cx="536340" cy="536340"/>
            <a:chOff x="4305298" y="3255662"/>
            <a:chExt cx="536340" cy="536340"/>
          </a:xfrm>
        </p:grpSpPr>
        <p:sp>
          <p:nvSpPr>
            <p:cNvPr id="26" name="Oval 25">
              <a:extLst>
                <a:ext uri="{FF2B5EF4-FFF2-40B4-BE49-F238E27FC236}">
                  <a16:creationId xmlns:a16="http://schemas.microsoft.com/office/drawing/2014/main" id="{15FA8C11-0EBC-487A-8C91-B301C9F80804}"/>
                </a:ext>
              </a:extLst>
            </p:cNvPr>
            <p:cNvSpPr/>
            <p:nvPr/>
          </p:nvSpPr>
          <p:spPr>
            <a:xfrm>
              <a:off x="4305298" y="3255662"/>
              <a:ext cx="536340" cy="53634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pic>
          <p:nvPicPr>
            <p:cNvPr id="27" name="Graphic 26">
              <a:extLst>
                <a:ext uri="{FF2B5EF4-FFF2-40B4-BE49-F238E27FC236}">
                  <a16:creationId xmlns:a16="http://schemas.microsoft.com/office/drawing/2014/main" id="{50739754-DDB2-4082-92AF-B31B54F58A9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411468" y="3371617"/>
              <a:ext cx="324000" cy="304430"/>
            </a:xfrm>
            <a:prstGeom prst="rect">
              <a:avLst/>
            </a:prstGeom>
          </p:spPr>
        </p:pic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1C03014E-80E0-45CF-9FF6-3EE59B105311}"/>
              </a:ext>
            </a:extLst>
          </p:cNvPr>
          <p:cNvGrpSpPr/>
          <p:nvPr/>
        </p:nvGrpSpPr>
        <p:grpSpPr>
          <a:xfrm>
            <a:off x="8245476" y="1992359"/>
            <a:ext cx="536340" cy="536340"/>
            <a:chOff x="4305298" y="2541008"/>
            <a:chExt cx="536340" cy="536340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9F5A2390-D8AE-4CF6-9270-252DA5EE82E8}"/>
                </a:ext>
              </a:extLst>
            </p:cNvPr>
            <p:cNvSpPr/>
            <p:nvPr/>
          </p:nvSpPr>
          <p:spPr>
            <a:xfrm>
              <a:off x="4305298" y="2541008"/>
              <a:ext cx="536340" cy="53634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pic>
          <p:nvPicPr>
            <p:cNvPr id="31" name="Graphic 30">
              <a:extLst>
                <a:ext uri="{FF2B5EF4-FFF2-40B4-BE49-F238E27FC236}">
                  <a16:creationId xmlns:a16="http://schemas.microsoft.com/office/drawing/2014/main" id="{D481AE67-2C47-43A2-BCB8-35C0347DAFB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411468" y="2656963"/>
              <a:ext cx="324000" cy="304430"/>
            </a:xfrm>
            <a:prstGeom prst="rect">
              <a:avLst/>
            </a:prstGeom>
          </p:spPr>
        </p:pic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D7CA5CE2-DF7A-4FF1-BE24-36EC12EF67EC}"/>
              </a:ext>
            </a:extLst>
          </p:cNvPr>
          <p:cNvGrpSpPr/>
          <p:nvPr/>
        </p:nvGrpSpPr>
        <p:grpSpPr>
          <a:xfrm>
            <a:off x="8245476" y="2756869"/>
            <a:ext cx="536340" cy="536340"/>
            <a:chOff x="4305298" y="3255662"/>
            <a:chExt cx="536340" cy="536340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DE27E64E-602C-4B15-9436-EAB945B45659}"/>
                </a:ext>
              </a:extLst>
            </p:cNvPr>
            <p:cNvSpPr/>
            <p:nvPr/>
          </p:nvSpPr>
          <p:spPr>
            <a:xfrm>
              <a:off x="4305298" y="3255662"/>
              <a:ext cx="536340" cy="53634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pic>
          <p:nvPicPr>
            <p:cNvPr id="34" name="Graphic 33">
              <a:extLst>
                <a:ext uri="{FF2B5EF4-FFF2-40B4-BE49-F238E27FC236}">
                  <a16:creationId xmlns:a16="http://schemas.microsoft.com/office/drawing/2014/main" id="{CA4F8246-DE3E-4C6B-8482-314A600DE00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411468" y="3371617"/>
              <a:ext cx="324000" cy="30443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5196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7657D-2CB4-4FFA-A7BB-1473498BE1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47675"/>
            <a:r>
              <a:rPr lang="en-US" dirty="0"/>
              <a:t>Casus 1</a:t>
            </a:r>
            <a:br>
              <a:rPr lang="en-US" dirty="0"/>
            </a:br>
            <a:r>
              <a:rPr lang="en-US" dirty="0" err="1">
                <a:solidFill>
                  <a:schemeClr val="accent6"/>
                </a:solidFill>
                <a:latin typeface="EB Garamond" panose="00000500000000000000" pitchFamily="2" charset="0"/>
                <a:ea typeface="EB Garamond" panose="00000500000000000000" pitchFamily="2" charset="0"/>
              </a:rPr>
              <a:t>Uitvoering</a:t>
            </a:r>
            <a:endParaRPr lang="ru-RU" dirty="0">
              <a:solidFill>
                <a:schemeClr val="accent6"/>
              </a:solidFill>
              <a:latin typeface="EB Garamond" panose="00000500000000000000" pitchFamily="2" charset="0"/>
              <a:ea typeface="EB Garamond" panose="00000500000000000000" pitchFamily="2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9D25EDF2-BBC4-4241-95D4-2ED65F6F59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3291" y="415382"/>
            <a:ext cx="285120" cy="316800"/>
          </a:xfrm>
          <a:prstGeom prst="rect">
            <a:avLst/>
          </a:prstGeom>
        </p:spPr>
      </p:pic>
      <p:graphicFrame>
        <p:nvGraphicFramePr>
          <p:cNvPr id="36" name="Table 3">
            <a:extLst>
              <a:ext uri="{FF2B5EF4-FFF2-40B4-BE49-F238E27FC236}">
                <a16:creationId xmlns:a16="http://schemas.microsoft.com/office/drawing/2014/main" id="{CAAB6BAD-FA95-410B-8332-5D23501F799C}"/>
              </a:ext>
            </a:extLst>
          </p:cNvPr>
          <p:cNvGraphicFramePr>
            <a:graphicFrameLocks noGrp="1"/>
          </p:cNvGraphicFramePr>
          <p:nvPr/>
        </p:nvGraphicFramePr>
        <p:xfrm>
          <a:off x="371473" y="1449388"/>
          <a:ext cx="11449051" cy="46535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65414">
                  <a:extLst>
                    <a:ext uri="{9D8B030D-6E8A-4147-A177-3AD203B41FA5}">
                      <a16:colId xmlns:a16="http://schemas.microsoft.com/office/drawing/2014/main" val="2801185856"/>
                    </a:ext>
                  </a:extLst>
                </a:gridCol>
                <a:gridCol w="2665414">
                  <a:extLst>
                    <a:ext uri="{9D8B030D-6E8A-4147-A177-3AD203B41FA5}">
                      <a16:colId xmlns:a16="http://schemas.microsoft.com/office/drawing/2014/main" val="4204431263"/>
                    </a:ext>
                  </a:extLst>
                </a:gridCol>
                <a:gridCol w="6118223">
                  <a:extLst>
                    <a:ext uri="{9D8B030D-6E8A-4147-A177-3AD203B41FA5}">
                      <a16:colId xmlns:a16="http://schemas.microsoft.com/office/drawing/2014/main" val="27825872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87313" indent="0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 err="1">
                          <a:solidFill>
                            <a:schemeClr val="accent2"/>
                          </a:solidFill>
                          <a:latin typeface="+mn-lt"/>
                        </a:rPr>
                        <a:t>Middel</a:t>
                      </a:r>
                      <a:endParaRPr lang="en-US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 err="1">
                          <a:solidFill>
                            <a:schemeClr val="accent2"/>
                          </a:solidFill>
                          <a:latin typeface="+mn-lt"/>
                        </a:rPr>
                        <a:t>Doseringschema</a:t>
                      </a:r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81971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252000">
                        <a:spcBef>
                          <a:spcPts val="1200"/>
                        </a:spcBef>
                      </a:pPr>
                      <a:endParaRPr lang="nl-NL" sz="10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7182594"/>
                  </a:ext>
                </a:extLst>
              </a:tr>
              <a:tr h="1432298">
                <a:tc>
                  <a:txBody>
                    <a:bodyPr/>
                    <a:lstStyle/>
                    <a:p>
                      <a:pPr marL="176213" indent="0" algn="l">
                        <a:lnSpc>
                          <a:spcPct val="100000"/>
                        </a:lnSpc>
                      </a:pPr>
                      <a:r>
                        <a:rPr lang="nl-NL" sz="1400" b="1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Stap 1</a:t>
                      </a:r>
                    </a:p>
                  </a:txBody>
                  <a:tcPr marL="4680" marR="468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0" algn="l">
                        <a:lnSpc>
                          <a:spcPct val="100000"/>
                        </a:lnSpc>
                        <a:tabLst>
                          <a:tab pos="87313" algn="l"/>
                        </a:tabLst>
                      </a:pPr>
                      <a:r>
                        <a:rPr lang="nl-NL" sz="14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idazolam</a:t>
                      </a:r>
                    </a:p>
                  </a:txBody>
                  <a:tcPr marL="4680" marR="468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0" algn="l">
                        <a:spcAft>
                          <a:spcPts val="600"/>
                        </a:spcAft>
                      </a:pPr>
                      <a:r>
                        <a:rPr lang="en-US" sz="1200" b="1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olus 5 mg 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evolgd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oor 1,5 mg/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ur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range 0,5-2,5 mg/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r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87313" indent="0" algn="l">
                        <a:spcAft>
                          <a:spcPts val="600"/>
                        </a:spcAft>
                      </a:pP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voldoende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2 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ur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bolus 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erhalen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4 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ur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continue met 50</a:t>
                      </a:r>
                      <a:r>
                        <a:rPr lang="en-US" sz="1200" b="0" strike="noStrike" kern="1200" spc="-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 ophogen</a:t>
                      </a:r>
                      <a:endParaRPr lang="en-US" sz="1200" b="0" strike="noStrike" kern="1200" spc="-1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66700" indent="-179388" algn="l"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inue ≥ 5 mg/u dan bolus 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ar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10 mg</a:t>
                      </a:r>
                    </a:p>
                    <a:p>
                      <a:pPr marL="266700" marR="0" lvl="0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inue ≥ 10 mg/u dan bolus 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ar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20 mg</a:t>
                      </a:r>
                    </a:p>
                    <a:p>
                      <a:pPr marL="266700" indent="-179388" algn="l"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≥ 20 mg/u dan 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evoegen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1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ap</a:t>
                      </a:r>
                      <a:r>
                        <a:rPr lang="en-US" sz="1200" b="0" i="1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2</a:t>
                      </a:r>
                    </a:p>
                  </a:txBody>
                  <a:tcPr marL="0" marR="10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6497305"/>
                  </a:ext>
                </a:extLst>
              </a:tr>
              <a:tr h="1748736">
                <a:tc>
                  <a:txBody>
                    <a:bodyPr/>
                    <a:lstStyle/>
                    <a:p>
                      <a:pPr marL="176213" indent="0" algn="l">
                        <a:lnSpc>
                          <a:spcPct val="100000"/>
                        </a:lnSpc>
                      </a:pPr>
                      <a:r>
                        <a:rPr lang="nl-NL" sz="1400" b="1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Stap 2</a:t>
                      </a:r>
                    </a:p>
                  </a:txBody>
                  <a:tcPr marL="3600" marR="360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731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evomepromazine</a:t>
                      </a:r>
                    </a:p>
                  </a:txBody>
                  <a:tcPr marL="4680" marR="468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7313" indent="0" algn="l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nl-NL" sz="1200" b="1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olus 50 mg</a:t>
                      </a:r>
                    </a:p>
                    <a:p>
                      <a:pPr marL="266700" indent="-179388" algn="l">
                        <a:lnSpc>
                          <a:spcPct val="100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oldoende na 6 uur: 12 uur na de start over op 25 mg 2dd1</a:t>
                      </a:r>
                      <a:b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voldoende na 6 uur: bolus van 50 mg en daarna 25 mg 4dd1</a:t>
                      </a:r>
                    </a:p>
                    <a:p>
                      <a:pPr marL="266700" marR="0" lvl="0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oldoende na 24 uur: overgaan op 50 mg 2dd1</a:t>
                      </a:r>
                      <a:b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voldoende na 24 uur: naar 75 mg 2dd1 met bolus 25 mg a 6 uur</a:t>
                      </a:r>
                    </a:p>
                    <a:p>
                      <a:pPr marL="266700" marR="0" lvl="0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oldoende na 48 uur: 75mg 2dd1</a:t>
                      </a:r>
                      <a:b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voldoende na 48 uur: naar 100 mg 2dd1 met bolus 25 mg a 6 uur</a:t>
                      </a:r>
                    </a:p>
                  </a:txBody>
                  <a:tcPr marL="0" marR="10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9616842"/>
                  </a:ext>
                </a:extLst>
              </a:tr>
              <a:tr h="893436">
                <a:tc>
                  <a:txBody>
                    <a:bodyPr/>
                    <a:lstStyle/>
                    <a:p>
                      <a:pPr marL="176213" indent="0" algn="l">
                        <a:lnSpc>
                          <a:spcPct val="100000"/>
                        </a:lnSpc>
                      </a:pPr>
                      <a:r>
                        <a:rPr lang="nl-NL" sz="1400" b="1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Stap 3</a:t>
                      </a:r>
                    </a:p>
                  </a:txBody>
                  <a:tcPr marL="3600" marR="360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pofol of fenobarbital</a:t>
                      </a:r>
                    </a:p>
                  </a:txBody>
                  <a:tcPr marL="4680" marR="468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66700" indent="-179388" algn="l">
                        <a:lnSpc>
                          <a:spcPct val="100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verleg altijd met een consultatieteam en/of anesthesioloog</a:t>
                      </a:r>
                    </a:p>
                    <a:p>
                      <a:pPr marL="266700" indent="-179388" algn="l">
                        <a:lnSpc>
                          <a:spcPct val="100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pofol 20-50 mg IV gevolgd door 100 mg/uur IV, evt per 5 min 20 mg IV</a:t>
                      </a:r>
                    </a:p>
                    <a:p>
                      <a:pPr marL="266700" indent="-179388" algn="l">
                        <a:lnSpc>
                          <a:spcPct val="100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enobarbital 200 mg SC gevolgd door 40 mg/uur SC, evt per 4 uur 200 mg SC</a:t>
                      </a:r>
                    </a:p>
                  </a:txBody>
                  <a:tcPr marL="0" marR="10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38652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55501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7657D-2CB4-4FFA-A7BB-1473498BE1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47675"/>
            <a:r>
              <a:rPr lang="en-US" dirty="0"/>
              <a:t>Casus 2</a:t>
            </a:r>
            <a:endParaRPr lang="ru-RU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06B4F05-D01F-47B2-B82E-778132F8B97E}"/>
              </a:ext>
            </a:extLst>
          </p:cNvPr>
          <p:cNvSpPr txBox="1"/>
          <p:nvPr/>
        </p:nvSpPr>
        <p:spPr>
          <a:xfrm>
            <a:off x="4305300" y="1449388"/>
            <a:ext cx="3578225" cy="2677656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69D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Vrouw van 73 jaar met een urosepsis, heel erg </a:t>
            </a:r>
            <a:r>
              <a: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elirant en </a:t>
            </a: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erg anstig, ook kortademig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69D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Verder blanco voorgeschiedenis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69D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Artsen kunnen niet inschatten </a:t>
            </a:r>
            <a:b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of ze gaat overlijden of “de bocht nog gaat nemen”</a:t>
            </a:r>
          </a:p>
          <a:p>
            <a:pPr marL="179388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69D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Ze denken dat laatst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9D25EDF2-BBC4-4241-95D4-2ED65F6F59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3291" y="415382"/>
            <a:ext cx="285120" cy="316800"/>
          </a:xfrm>
          <a:prstGeom prst="rect">
            <a:avLst/>
          </a:prstGeom>
        </p:spPr>
      </p:pic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457F6612-F86C-4F74-907A-108FDA9D32A5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" b="99"/>
          <a:stretch>
            <a:fillRect/>
          </a:stretch>
        </p:blipFill>
        <p:spPr/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BD230933-06B8-4F50-999F-4DD095A72545}"/>
              </a:ext>
            </a:extLst>
          </p:cNvPr>
          <p:cNvSpPr txBox="1"/>
          <p:nvPr/>
        </p:nvSpPr>
        <p:spPr>
          <a:xfrm>
            <a:off x="8245475" y="1449388"/>
            <a:ext cx="3575050" cy="4985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1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</a:tabLst>
              <a:defRPr/>
            </a:pPr>
            <a:r>
              <a:rPr kumimoji="0" lang="nl-NL" sz="1800" b="0" i="0" u="none" strike="noStrike" kern="1200" cap="none" spc="-1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"/>
                <a:ea typeface="Lato regular"/>
                <a:cs typeface="+mn-cs"/>
              </a:rPr>
              <a:t>Familie vindt dat patiënte enorm lijdt, vooral 's nachts:</a:t>
            </a:r>
            <a:endParaRPr kumimoji="0" lang="nl-NL" sz="1800" b="0" i="0" u="none" strike="noStrike" kern="1200" cap="none" spc="-1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16A117EE-7051-466D-B917-9B8AD2B458C2}"/>
              </a:ext>
            </a:extLst>
          </p:cNvPr>
          <p:cNvGrpSpPr/>
          <p:nvPr/>
        </p:nvGrpSpPr>
        <p:grpSpPr>
          <a:xfrm>
            <a:off x="8245474" y="2133600"/>
            <a:ext cx="3578225" cy="1478109"/>
            <a:chOff x="8245474" y="2229874"/>
            <a:chExt cx="3578225" cy="1478109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07391776-9558-41E4-9884-1F4A69CBD6F5}"/>
                </a:ext>
              </a:extLst>
            </p:cNvPr>
            <p:cNvSpPr txBox="1"/>
            <p:nvPr/>
          </p:nvSpPr>
          <p:spPr>
            <a:xfrm>
              <a:off x="8245474" y="2714506"/>
              <a:ext cx="3578225" cy="830997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800" b="0" i="0" u="none" strike="noStrike" kern="1200" cap="none" spc="-1" normalizeH="0" baseline="0" noProof="0" dirty="0">
                  <a:ln>
                    <a:noFill/>
                  </a:ln>
                  <a:solidFill>
                    <a:srgbClr val="769D94"/>
                  </a:solidFill>
                  <a:effectLst/>
                  <a:uLnTx/>
                  <a:uFillTx/>
                  <a:latin typeface="Lato regular"/>
                  <a:ea typeface="Lato regular"/>
                  <a:cs typeface="+mn-cs"/>
                </a:rPr>
                <a:t>Een dier krijgt in dit land wel </a:t>
              </a:r>
              <a:br>
                <a:rPr kumimoji="0" lang="nl-NL" sz="1800" b="0" i="0" u="none" strike="noStrike" kern="1200" cap="none" spc="-1" normalizeH="0" baseline="0" noProof="0" dirty="0">
                  <a:ln>
                    <a:noFill/>
                  </a:ln>
                  <a:solidFill>
                    <a:srgbClr val="769D94"/>
                  </a:solidFill>
                  <a:effectLst/>
                  <a:uLnTx/>
                  <a:uFillTx/>
                  <a:latin typeface="Lato regular"/>
                  <a:ea typeface="Lato regular"/>
                  <a:cs typeface="+mn-cs"/>
                </a:rPr>
              </a:br>
              <a:r>
                <a:rPr kumimoji="0" lang="nl-NL" sz="1800" b="0" i="0" u="none" strike="noStrike" kern="1200" cap="none" spc="-1" normalizeH="0" baseline="0" noProof="0" dirty="0">
                  <a:ln>
                    <a:noFill/>
                  </a:ln>
                  <a:solidFill>
                    <a:srgbClr val="769D94"/>
                  </a:solidFill>
                  <a:effectLst/>
                  <a:uLnTx/>
                  <a:uFillTx/>
                  <a:latin typeface="Lato regular"/>
                  <a:ea typeface="Lato regular"/>
                  <a:cs typeface="+mn-cs"/>
                </a:rPr>
                <a:t>een spuitje in zo'n situatie, </a:t>
              </a:r>
              <a:br>
                <a:rPr kumimoji="0" lang="nl-NL" sz="1800" b="0" i="0" u="none" strike="noStrike" kern="1200" cap="none" spc="-1" normalizeH="0" baseline="0" noProof="0" dirty="0">
                  <a:ln>
                    <a:noFill/>
                  </a:ln>
                  <a:solidFill>
                    <a:srgbClr val="769D94"/>
                  </a:solidFill>
                  <a:effectLst/>
                  <a:uLnTx/>
                  <a:uFillTx/>
                  <a:latin typeface="Lato regular"/>
                  <a:ea typeface="Lato regular"/>
                  <a:cs typeface="+mn-cs"/>
                </a:rPr>
              </a:br>
              <a:r>
                <a:rPr kumimoji="0" lang="nl-NL" sz="1800" b="0" i="0" u="none" strike="noStrike" kern="1200" cap="none" spc="-1" normalizeH="0" baseline="0" noProof="0" dirty="0">
                  <a:ln>
                    <a:noFill/>
                  </a:ln>
                  <a:solidFill>
                    <a:srgbClr val="769D94"/>
                  </a:solidFill>
                  <a:effectLst/>
                  <a:uLnTx/>
                  <a:uFillTx/>
                  <a:latin typeface="Lato regular"/>
                  <a:ea typeface="Lato regular"/>
                  <a:cs typeface="+mn-cs"/>
                </a:rPr>
                <a:t>waarom onze moeder niet?</a:t>
              </a: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769D94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pic>
          <p:nvPicPr>
            <p:cNvPr id="22" name="Graphic 21">
              <a:extLst>
                <a:ext uri="{FF2B5EF4-FFF2-40B4-BE49-F238E27FC236}">
                  <a16:creationId xmlns:a16="http://schemas.microsoft.com/office/drawing/2014/main" id="{23E103DA-55A8-40EE-A359-0135F191EA0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245474" y="2229874"/>
              <a:ext cx="536400" cy="417200"/>
            </a:xfrm>
            <a:prstGeom prst="rect">
              <a:avLst/>
            </a:prstGeom>
          </p:spPr>
        </p:pic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338AED38-7F5A-4F10-AC20-98DD81FCA00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 rot="10800000">
              <a:off x="11283450" y="3290783"/>
              <a:ext cx="536400" cy="4172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4678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D71EF8C-8E0C-4F92-98C5-873B115B81C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480842" y="2864581"/>
            <a:ext cx="8673474" cy="1076240"/>
          </a:xfrm>
        </p:spPr>
        <p:txBody>
          <a:bodyPr/>
          <a:lstStyle/>
          <a:p>
            <a:r>
              <a:rPr lang="nl-NL" sz="3600" dirty="0"/>
              <a:t>We think hospice means death, </a:t>
            </a:r>
            <a:br>
              <a:rPr lang="nl-NL" sz="3600" dirty="0"/>
            </a:br>
            <a:r>
              <a:rPr lang="nl-NL" sz="3600" dirty="0"/>
              <a:t>but as we watched you all take care of her,  we realized it really means celebrating life.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2089747-71E4-4AA8-9100-8DE642C30B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1475" y="1763954"/>
            <a:ext cx="680558" cy="52932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0B16742-A975-4669-9356-58996FAA1B1E}"/>
              </a:ext>
            </a:extLst>
          </p:cNvPr>
          <p:cNvSpPr txBox="1"/>
          <p:nvPr/>
        </p:nvSpPr>
        <p:spPr>
          <a:xfrm>
            <a:off x="371475" y="4893990"/>
            <a:ext cx="5724525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Make M.</a:t>
            </a: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9EC0B9">
                    <a:lumMod val="40000"/>
                    <a:lumOff val="60000"/>
                  </a:srgbClr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amaritan Healthcare &amp; Hospi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9EC0B9">
                    <a:lumMod val="40000"/>
                    <a:lumOff val="60000"/>
                  </a:srgbClr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amaritanHealthcareNJ.org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9EC0B9">
                  <a:lumMod val="40000"/>
                  <a:lumOff val="60000"/>
                </a:srgbClr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703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7657D-2CB4-4FFA-A7BB-1473498BE1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47675"/>
            <a:r>
              <a:rPr lang="en-US" dirty="0"/>
              <a:t>Casus 2</a:t>
            </a:r>
            <a:endParaRPr lang="ru-RU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9D25EDF2-BBC4-4241-95D4-2ED65F6F59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3291" y="415382"/>
            <a:ext cx="285120" cy="316800"/>
          </a:xfrm>
          <a:prstGeom prst="rect">
            <a:avLst/>
          </a:prstGeom>
        </p:spPr>
      </p:pic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457F6612-F86C-4F74-907A-108FDA9D32A5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" b="99"/>
          <a:stretch>
            <a:fillRect/>
          </a:stretch>
        </p:blipFill>
        <p:spPr/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7C65B1E5-7A99-47B9-B47E-19D617C639C4}"/>
              </a:ext>
            </a:extLst>
          </p:cNvPr>
          <p:cNvGrpSpPr/>
          <p:nvPr/>
        </p:nvGrpSpPr>
        <p:grpSpPr>
          <a:xfrm>
            <a:off x="8353465" y="2133600"/>
            <a:ext cx="3452271" cy="2437908"/>
            <a:chOff x="6369059" y="2073150"/>
            <a:chExt cx="3452271" cy="2437908"/>
          </a:xfrm>
        </p:grpSpPr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8413879D-9C92-470E-8ACD-799BF102765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69059" y="2073150"/>
              <a:ext cx="3452271" cy="2437908"/>
            </a:xfrm>
            <a:prstGeom prst="rect">
              <a:avLst/>
            </a:prstGeom>
          </p:spPr>
        </p:pic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B662312E-4F6F-44FA-B8F1-1F35E392BA89}"/>
                </a:ext>
              </a:extLst>
            </p:cNvPr>
            <p:cNvSpPr txBox="1"/>
            <p:nvPr/>
          </p:nvSpPr>
          <p:spPr>
            <a:xfrm>
              <a:off x="6824832" y="2747340"/>
              <a:ext cx="2540725" cy="10895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1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nl-NL" sz="1800" b="0" i="0" u="none" strike="noStrike" kern="1200" cap="none" spc="-1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/>
                  <a:ea typeface="Lato regular"/>
                  <a:cs typeface="+mn-cs"/>
                </a:rPr>
                <a:t>Wat bedoelen ze met “dat moeder lijdt </a:t>
              </a:r>
              <a:br>
                <a:rPr kumimoji="0" lang="nl-NL" sz="1800" b="0" i="0" u="none" strike="noStrike" kern="1200" cap="none" spc="-1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/>
                  <a:ea typeface="Lato regular"/>
                  <a:cs typeface="+mn-cs"/>
                </a:rPr>
              </a:br>
              <a:r>
                <a:rPr kumimoji="0" lang="nl-NL" sz="1800" b="0" i="0" u="none" strike="noStrike" kern="1200" cap="none" spc="-1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/>
                  <a:ea typeface="Lato regular"/>
                  <a:cs typeface="+mn-cs"/>
                </a:rPr>
                <a:t>en dat een dier nog beter af is?”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F79F245-3DA1-424B-B139-B2A7318142AB}"/>
              </a:ext>
            </a:extLst>
          </p:cNvPr>
          <p:cNvGrpSpPr/>
          <p:nvPr/>
        </p:nvGrpSpPr>
        <p:grpSpPr>
          <a:xfrm>
            <a:off x="4212823" y="1445152"/>
            <a:ext cx="3449410" cy="2397848"/>
            <a:chOff x="2370671" y="2095429"/>
            <a:chExt cx="3449410" cy="2397848"/>
          </a:xfrm>
        </p:grpSpPr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A808D96F-F70E-4D0F-92B6-42F61C03540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370671" y="2095429"/>
              <a:ext cx="3449410" cy="2397848"/>
            </a:xfrm>
            <a:prstGeom prst="rect">
              <a:avLst/>
            </a:prstGeom>
          </p:spPr>
        </p:pic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BA4F7420-1A2F-4080-8F09-732A0FFA1616}"/>
                </a:ext>
              </a:extLst>
            </p:cNvPr>
            <p:cNvSpPr txBox="1"/>
            <p:nvPr/>
          </p:nvSpPr>
          <p:spPr>
            <a:xfrm>
              <a:off x="2825014" y="2998888"/>
              <a:ext cx="2540725" cy="5909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1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nl-NL" sz="1800" b="0" i="0" u="none" strike="noStrike" kern="1200" cap="none" spc="-1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/>
                  <a:ea typeface="Lato regular"/>
                  <a:cs typeface="+mn-cs"/>
                </a:rPr>
                <a:t>Wat denk je bij </a:t>
              </a:r>
              <a:br>
                <a:rPr kumimoji="0" lang="nl-NL" sz="1800" b="0" i="0" u="none" strike="noStrike" kern="1200" cap="none" spc="-1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/>
                  <a:ea typeface="Lato regular"/>
                  <a:cs typeface="+mn-cs"/>
                </a:rPr>
              </a:br>
              <a:r>
                <a:rPr kumimoji="0" lang="nl-NL" sz="1800" b="0" i="0" u="none" strike="noStrike" kern="1200" cap="none" spc="-1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/>
                  <a:ea typeface="Lato regular"/>
                  <a:cs typeface="+mn-cs"/>
                </a:rPr>
                <a:t>deze casus?</a:t>
              </a: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AF2FCA34-B502-4594-B0E8-F5CD5D22BDF9}"/>
              </a:ext>
            </a:extLst>
          </p:cNvPr>
          <p:cNvGrpSpPr/>
          <p:nvPr/>
        </p:nvGrpSpPr>
        <p:grpSpPr>
          <a:xfrm>
            <a:off x="5831559" y="4000784"/>
            <a:ext cx="3062019" cy="2128554"/>
            <a:chOff x="4212823" y="4249149"/>
            <a:chExt cx="3062019" cy="2128554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FB851851-7C59-42C8-A67E-AAE867E6A9F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12823" y="4249149"/>
              <a:ext cx="3062019" cy="2128554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CFB0474C-C242-4B58-9119-26C9259C7B5C}"/>
                </a:ext>
              </a:extLst>
            </p:cNvPr>
            <p:cNvSpPr txBox="1"/>
            <p:nvPr/>
          </p:nvSpPr>
          <p:spPr>
            <a:xfrm>
              <a:off x="4473470" y="5017961"/>
              <a:ext cx="2540725" cy="590931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1001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0" algn="l"/>
                </a:tabLst>
                <a:defRPr/>
              </a:pPr>
              <a:r>
                <a:rPr kumimoji="0" lang="nl-NL" sz="1800" b="0" i="0" u="none" strike="noStrike" kern="1200" cap="none" spc="-1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/>
                  <a:ea typeface="Lato regular"/>
                  <a:cs typeface="+mn-cs"/>
                </a:rPr>
                <a:t>Wat bedoelen </a:t>
              </a:r>
              <a:br>
                <a:rPr kumimoji="0" lang="nl-NL" sz="1800" b="0" i="0" u="none" strike="noStrike" kern="1200" cap="none" spc="-1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/>
                  <a:ea typeface="Lato regular"/>
                  <a:cs typeface="+mn-cs"/>
                </a:rPr>
              </a:br>
              <a:r>
                <a:rPr kumimoji="0" lang="nl-NL" sz="1800" b="0" i="0" u="none" strike="noStrike" kern="1200" cap="none" spc="-1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 regular"/>
                  <a:ea typeface="Lato regular"/>
                  <a:cs typeface="+mn-cs"/>
                </a:rPr>
                <a:t>ze met “dat spuitje”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75516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7657D-2CB4-4FFA-A7BB-1473498BE1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47675"/>
            <a:r>
              <a:rPr lang="en-US" dirty="0"/>
              <a:t>Casus 2</a:t>
            </a:r>
            <a:endParaRPr lang="ru-RU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9D25EDF2-BBC4-4241-95D4-2ED65F6F59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3291" y="415382"/>
            <a:ext cx="285120" cy="316800"/>
          </a:xfrm>
          <a:prstGeom prst="rect">
            <a:avLst/>
          </a:prstGeom>
        </p:spPr>
      </p:pic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457F6612-F86C-4F74-907A-108FDA9D32A5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" b="99"/>
          <a:stretch>
            <a:fillRect/>
          </a:stretch>
        </p:blipFill>
        <p:spPr/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8CA8939-7B49-4B1E-A51D-3BEA0BC42483}"/>
              </a:ext>
            </a:extLst>
          </p:cNvPr>
          <p:cNvSpPr txBox="1"/>
          <p:nvPr/>
        </p:nvSpPr>
        <p:spPr>
          <a:xfrm>
            <a:off x="4305300" y="1533052"/>
            <a:ext cx="3578226" cy="2508379"/>
          </a:xfrm>
          <a:prstGeom prst="rect">
            <a:avLst/>
          </a:prstGeom>
          <a:noFill/>
        </p:spPr>
        <p:txBody>
          <a:bodyPr wrap="square" tIns="0" rIns="0" bIns="0" numCol="1" spcCol="360000">
            <a:spAutoFit/>
          </a:bodyPr>
          <a:lstStyle/>
          <a:p>
            <a:pPr marL="6302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>
                <a:srgbClr val="769D94"/>
              </a:buClr>
              <a:buSzTx/>
              <a:buFontTx/>
              <a:buNone/>
              <a:tabLst/>
              <a:defRPr/>
            </a:pPr>
            <a:r>
              <a:rPr kumimoji="0" lang="nl-NL" sz="1800" b="0" i="1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Vraag 1: </a:t>
            </a: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voldoe je aan </a:t>
            </a:r>
            <a:b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e voorwaarde? (verwacht overlijden binnen 2 weken?)</a:t>
            </a:r>
          </a:p>
          <a:p>
            <a:pPr marL="895350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769D94"/>
              </a:buClr>
              <a:buSzTx/>
              <a:buFontTx/>
              <a:buNone/>
              <a:tabLst/>
              <a:defRPr/>
            </a:pPr>
            <a:r>
              <a:rPr kumimoji="0" lang="nl-NL" sz="1600" b="0" i="1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Vraag 1a: </a:t>
            </a: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geldt deze voorwaarde voor alle vormen van sedatie?</a:t>
            </a:r>
          </a:p>
          <a:p>
            <a:pPr marL="6302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>
                <a:srgbClr val="769D94"/>
              </a:buClr>
              <a:buSzTx/>
              <a:buFontTx/>
              <a:buNone/>
              <a:tabLst/>
              <a:defRPr/>
            </a:pPr>
            <a:r>
              <a:rPr kumimoji="0" lang="nl-NL" sz="1800" b="0" i="1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Vraag 2: </a:t>
            </a: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s er een indicatie? (</a:t>
            </a:r>
            <a:r>
              <a: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refractair symptoom)</a:t>
            </a: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DD95C09B-75C1-47D4-A107-15934FAFB62F}"/>
              </a:ext>
            </a:extLst>
          </p:cNvPr>
          <p:cNvGrpSpPr/>
          <p:nvPr/>
        </p:nvGrpSpPr>
        <p:grpSpPr>
          <a:xfrm>
            <a:off x="4305298" y="1449338"/>
            <a:ext cx="536340" cy="536340"/>
            <a:chOff x="4305298" y="2541008"/>
            <a:chExt cx="536340" cy="536340"/>
          </a:xfrm>
        </p:grpSpPr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76C796D1-4C17-4E37-BB30-DBFCC779FD79}"/>
                </a:ext>
              </a:extLst>
            </p:cNvPr>
            <p:cNvSpPr/>
            <p:nvPr/>
          </p:nvSpPr>
          <p:spPr>
            <a:xfrm>
              <a:off x="4305298" y="2541008"/>
              <a:ext cx="536340" cy="53634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pic>
          <p:nvPicPr>
            <p:cNvPr id="15" name="Graphic 14">
              <a:extLst>
                <a:ext uri="{FF2B5EF4-FFF2-40B4-BE49-F238E27FC236}">
                  <a16:creationId xmlns:a16="http://schemas.microsoft.com/office/drawing/2014/main" id="{62CC54AE-EC63-4F10-BC44-7896D803EE8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411468" y="2656963"/>
              <a:ext cx="324000" cy="304430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FC8234CF-C52C-4F68-BC8F-583B599B8A4E}"/>
              </a:ext>
            </a:extLst>
          </p:cNvPr>
          <p:cNvGrpSpPr/>
          <p:nvPr/>
        </p:nvGrpSpPr>
        <p:grpSpPr>
          <a:xfrm>
            <a:off x="4305298" y="3461655"/>
            <a:ext cx="536340" cy="536340"/>
            <a:chOff x="4305298" y="2541008"/>
            <a:chExt cx="536340" cy="536340"/>
          </a:xfrm>
        </p:grpSpPr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89890825-5C61-45A4-ABC5-1AC9FB83CC8A}"/>
                </a:ext>
              </a:extLst>
            </p:cNvPr>
            <p:cNvSpPr/>
            <p:nvPr/>
          </p:nvSpPr>
          <p:spPr>
            <a:xfrm>
              <a:off x="4305298" y="2541008"/>
              <a:ext cx="536340" cy="53634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C42EBF99-4237-478E-B5A8-A530B357393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4411468" y="2656963"/>
              <a:ext cx="324000" cy="30443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703471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7657D-2CB4-4FFA-A7BB-1473498BE1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47675"/>
            <a:r>
              <a:rPr lang="en-US" dirty="0"/>
              <a:t>Casus 2</a:t>
            </a:r>
            <a:br>
              <a:rPr lang="en-US" dirty="0"/>
            </a:br>
            <a:r>
              <a:rPr lang="en-US" dirty="0" err="1">
                <a:solidFill>
                  <a:schemeClr val="accent6"/>
                </a:solidFill>
                <a:latin typeface="EB Garamond" panose="00000500000000000000" pitchFamily="2" charset="0"/>
                <a:ea typeface="EB Garamond" panose="00000500000000000000" pitchFamily="2" charset="0"/>
              </a:rPr>
              <a:t>Kortdurend</a:t>
            </a:r>
            <a:r>
              <a:rPr lang="en-US" dirty="0">
                <a:solidFill>
                  <a:schemeClr val="accent6"/>
                </a:solidFill>
                <a:latin typeface="EB Garamond" panose="00000500000000000000" pitchFamily="2" charset="0"/>
                <a:ea typeface="EB Garamond" panose="00000500000000000000" pitchFamily="2" charset="0"/>
              </a:rPr>
              <a:t> &amp; </a:t>
            </a:r>
            <a:r>
              <a:rPr lang="en-US" dirty="0" err="1">
                <a:solidFill>
                  <a:schemeClr val="accent6"/>
                </a:solidFill>
                <a:latin typeface="EB Garamond" panose="00000500000000000000" pitchFamily="2" charset="0"/>
                <a:ea typeface="EB Garamond" panose="00000500000000000000" pitchFamily="2" charset="0"/>
              </a:rPr>
              <a:t>intermitterend</a:t>
            </a:r>
            <a:endParaRPr lang="ru-RU" dirty="0">
              <a:solidFill>
                <a:schemeClr val="accent6"/>
              </a:solidFill>
              <a:latin typeface="EB Garamond" panose="00000500000000000000" pitchFamily="2" charset="0"/>
              <a:ea typeface="EB Garamond" panose="00000500000000000000" pitchFamily="2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9D25EDF2-BBC4-4241-95D4-2ED65F6F59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3291" y="415382"/>
            <a:ext cx="285120" cy="316800"/>
          </a:xfrm>
          <a:prstGeom prst="rect">
            <a:avLst/>
          </a:prstGeom>
        </p:spPr>
      </p:pic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457F6612-F86C-4F74-907A-108FDA9D32A5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" b="99"/>
          <a:stretch>
            <a:fillRect/>
          </a:stretch>
        </p:blipFill>
        <p:spPr/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2C3E2DE3-3037-4507-B1EC-4FD90AC7503E}"/>
              </a:ext>
            </a:extLst>
          </p:cNvPr>
          <p:cNvSpPr txBox="1"/>
          <p:nvPr/>
        </p:nvSpPr>
        <p:spPr>
          <a:xfrm>
            <a:off x="4308475" y="2268014"/>
            <a:ext cx="3575050" cy="162807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edatie met als doel de symptomen tijdelijk te bestrijden </a:t>
            </a:r>
            <a:b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n de verwachting dat </a:t>
            </a:r>
            <a:b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e symptomen daarna niet meer ondraaglijk zijn voor de patiënt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31AF940-436C-47D0-8289-89A9DC5AAC76}"/>
              </a:ext>
            </a:extLst>
          </p:cNvPr>
          <p:cNvCxnSpPr>
            <a:cxnSpLocks/>
          </p:cNvCxnSpPr>
          <p:nvPr/>
        </p:nvCxnSpPr>
        <p:spPr>
          <a:xfrm>
            <a:off x="4308475" y="2138037"/>
            <a:ext cx="3575050" cy="0"/>
          </a:xfrm>
          <a:prstGeom prst="line">
            <a:avLst/>
          </a:prstGeom>
          <a:ln w="19050" cap="rnd">
            <a:solidFill>
              <a:schemeClr val="accent4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aphic 17">
            <a:extLst>
              <a:ext uri="{FF2B5EF4-FFF2-40B4-BE49-F238E27FC236}">
                <a16:creationId xmlns:a16="http://schemas.microsoft.com/office/drawing/2014/main" id="{C969505D-8273-4A2E-AF6A-F6B10F9F066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08476" y="1423885"/>
            <a:ext cx="458015" cy="572519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B41E5327-67DF-4C0E-913B-D93E8BB30695}"/>
              </a:ext>
            </a:extLst>
          </p:cNvPr>
          <p:cNvSpPr txBox="1"/>
          <p:nvPr/>
        </p:nvSpPr>
        <p:spPr>
          <a:xfrm>
            <a:off x="4308474" y="4215635"/>
            <a:ext cx="3575051" cy="63087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</a:t>
            </a: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tt tot continue sedatie: daar wordt de sedatie tot overlijden doorgeze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1A4DFF8-D148-4708-87BF-D98CA2FA0868}"/>
              </a:ext>
            </a:extLst>
          </p:cNvPr>
          <p:cNvSpPr txBox="1"/>
          <p:nvPr/>
        </p:nvSpPr>
        <p:spPr>
          <a:xfrm>
            <a:off x="4308474" y="5166060"/>
            <a:ext cx="3575051" cy="96327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EC6533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Ook hier geldt dat de sedatie proportioneel moet zijn (niet per </a:t>
            </a:r>
            <a:b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EC6533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EC6533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e diepe bewustzijnsdaling)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E19005BF-EED3-48BE-973C-F3833985B90B}"/>
              </a:ext>
            </a:extLst>
          </p:cNvPr>
          <p:cNvSpPr txBox="1"/>
          <p:nvPr/>
        </p:nvSpPr>
        <p:spPr>
          <a:xfrm>
            <a:off x="8248649" y="3308878"/>
            <a:ext cx="3571200" cy="991792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72000" rIns="72000" bIns="72000" numCol="1" spcCol="360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F5A46D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ndicatie 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5A46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Tijdelijk refractair symptoom dat tot ondraaglijk lijden leidt</a:t>
            </a:r>
            <a:endParaRPr kumimoji="0" lang="nl-NL" sz="1400" b="0" i="0" u="none" strike="noStrike" kern="1200" cap="none" spc="0" normalizeH="0" baseline="0" noProof="0" dirty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001E857D-D151-4010-A1EC-891EC6249E34}"/>
              </a:ext>
            </a:extLst>
          </p:cNvPr>
          <p:cNvSpPr txBox="1"/>
          <p:nvPr/>
        </p:nvSpPr>
        <p:spPr>
          <a:xfrm>
            <a:off x="8248649" y="2137568"/>
            <a:ext cx="3575049" cy="991792"/>
          </a:xfrm>
          <a:prstGeom prst="rect">
            <a:avLst/>
          </a:prstGeom>
          <a:solidFill>
            <a:schemeClr val="bg1"/>
          </a:solidFill>
        </p:spPr>
        <p:txBody>
          <a:bodyPr wrap="square" lIns="72000" tIns="72000" rIns="72000" bIns="72000" numCol="1" spcCol="360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F5A46D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Voorwaarde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5A46D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Levensverwachting hoeft niet korter dan 2 weken te zijn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4413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7657D-2CB4-4FFA-A7BB-1473498BE1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47675"/>
            <a:r>
              <a:rPr lang="en-US" dirty="0"/>
              <a:t>Casus 2</a:t>
            </a:r>
            <a:br>
              <a:rPr lang="en-US" dirty="0"/>
            </a:br>
            <a:r>
              <a:rPr lang="en-US" dirty="0" err="1">
                <a:solidFill>
                  <a:schemeClr val="accent6"/>
                </a:solidFill>
                <a:latin typeface="EB Garamond" panose="00000500000000000000" pitchFamily="2" charset="0"/>
                <a:ea typeface="EB Garamond" panose="00000500000000000000" pitchFamily="2" charset="0"/>
              </a:rPr>
              <a:t>Uitvoering</a:t>
            </a:r>
            <a:endParaRPr lang="ru-RU" dirty="0">
              <a:solidFill>
                <a:schemeClr val="accent6"/>
              </a:solidFill>
              <a:latin typeface="EB Garamond" panose="00000500000000000000" pitchFamily="2" charset="0"/>
              <a:ea typeface="EB Garamond" panose="00000500000000000000" pitchFamily="2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9D25EDF2-BBC4-4241-95D4-2ED65F6F59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3291" y="415382"/>
            <a:ext cx="285120" cy="316800"/>
          </a:xfrm>
          <a:prstGeom prst="rect">
            <a:avLst/>
          </a:prstGeom>
        </p:spPr>
      </p:pic>
      <p:graphicFrame>
        <p:nvGraphicFramePr>
          <p:cNvPr id="36" name="Table 3">
            <a:extLst>
              <a:ext uri="{FF2B5EF4-FFF2-40B4-BE49-F238E27FC236}">
                <a16:creationId xmlns:a16="http://schemas.microsoft.com/office/drawing/2014/main" id="{CAAB6BAD-FA95-410B-8332-5D23501F799C}"/>
              </a:ext>
            </a:extLst>
          </p:cNvPr>
          <p:cNvGraphicFramePr>
            <a:graphicFrameLocks noGrp="1"/>
          </p:cNvGraphicFramePr>
          <p:nvPr/>
        </p:nvGraphicFramePr>
        <p:xfrm>
          <a:off x="371473" y="1449388"/>
          <a:ext cx="11449051" cy="46535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65414">
                  <a:extLst>
                    <a:ext uri="{9D8B030D-6E8A-4147-A177-3AD203B41FA5}">
                      <a16:colId xmlns:a16="http://schemas.microsoft.com/office/drawing/2014/main" val="2801185856"/>
                    </a:ext>
                  </a:extLst>
                </a:gridCol>
                <a:gridCol w="2665414">
                  <a:extLst>
                    <a:ext uri="{9D8B030D-6E8A-4147-A177-3AD203B41FA5}">
                      <a16:colId xmlns:a16="http://schemas.microsoft.com/office/drawing/2014/main" val="4204431263"/>
                    </a:ext>
                  </a:extLst>
                </a:gridCol>
                <a:gridCol w="6118223">
                  <a:extLst>
                    <a:ext uri="{9D8B030D-6E8A-4147-A177-3AD203B41FA5}">
                      <a16:colId xmlns:a16="http://schemas.microsoft.com/office/drawing/2014/main" val="27825872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87313" indent="0"/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 err="1">
                          <a:solidFill>
                            <a:schemeClr val="accent2"/>
                          </a:solidFill>
                          <a:latin typeface="+mn-lt"/>
                        </a:rPr>
                        <a:t>Middel</a:t>
                      </a:r>
                      <a:endParaRPr lang="en-US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600" dirty="0" err="1">
                          <a:solidFill>
                            <a:schemeClr val="accent2"/>
                          </a:solidFill>
                          <a:latin typeface="+mn-lt"/>
                        </a:rPr>
                        <a:t>Doseringschema</a:t>
                      </a:r>
                      <a:endParaRPr lang="ru-RU" sz="1600" dirty="0">
                        <a:solidFill>
                          <a:schemeClr val="accent2"/>
                        </a:solidFill>
                        <a:latin typeface="+mn-lt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9819715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252000">
                        <a:spcBef>
                          <a:spcPts val="1200"/>
                        </a:spcBef>
                      </a:pPr>
                      <a:endParaRPr lang="nl-NL" sz="1000" b="1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nl-NL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57182594"/>
                  </a:ext>
                </a:extLst>
              </a:tr>
              <a:tr h="1432298">
                <a:tc>
                  <a:txBody>
                    <a:bodyPr/>
                    <a:lstStyle/>
                    <a:p>
                      <a:pPr marL="176213" indent="0" algn="l">
                        <a:lnSpc>
                          <a:spcPct val="100000"/>
                        </a:lnSpc>
                      </a:pPr>
                      <a:r>
                        <a:rPr lang="nl-NL" sz="1400" b="1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Stap 1</a:t>
                      </a:r>
                    </a:p>
                  </a:txBody>
                  <a:tcPr marL="4680" marR="468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0" algn="l">
                        <a:lnSpc>
                          <a:spcPct val="100000"/>
                        </a:lnSpc>
                        <a:tabLst>
                          <a:tab pos="87313" algn="l"/>
                        </a:tabLst>
                      </a:pPr>
                      <a:r>
                        <a:rPr lang="nl-NL" sz="14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idazolam</a:t>
                      </a:r>
                    </a:p>
                  </a:txBody>
                  <a:tcPr marL="4680" marR="468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indent="0" algn="l">
                        <a:spcAft>
                          <a:spcPts val="600"/>
                        </a:spcAft>
                      </a:pPr>
                      <a:r>
                        <a:rPr lang="en-US" sz="1200" b="1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olus 5 mg 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gevolgd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oor 1,5 mg/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ur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(range 0,5-2,5 mg/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r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87313" indent="0" algn="l">
                        <a:spcAft>
                          <a:spcPts val="600"/>
                        </a:spcAft>
                      </a:pP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voldoende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2 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ur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bolus 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erhalen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n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4 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ur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continue met 50</a:t>
                      </a:r>
                      <a:r>
                        <a:rPr lang="en-US" sz="1200" b="0" strike="noStrike" kern="1200" spc="-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% ophogen</a:t>
                      </a:r>
                      <a:endParaRPr lang="en-US" sz="1200" b="0" strike="noStrike" kern="1200" spc="-1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66700" indent="-179388" algn="l"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inue ≥ 5 mg/u dan bolus 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ar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10 mg</a:t>
                      </a:r>
                    </a:p>
                    <a:p>
                      <a:pPr marL="266700" marR="0" lvl="0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inue ≥ 10 mg/u dan bolus 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aar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20 mg</a:t>
                      </a:r>
                    </a:p>
                    <a:p>
                      <a:pPr marL="266700" indent="-179388" algn="l"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≥ 20 mg/u dan </a:t>
                      </a:r>
                      <a:r>
                        <a:rPr lang="en-US" sz="1200" b="0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evoegen</a:t>
                      </a:r>
                      <a:r>
                        <a:rPr lang="en-US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b="0" i="1" strike="noStrike" kern="1200" spc="-1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ap</a:t>
                      </a:r>
                      <a:r>
                        <a:rPr lang="en-US" sz="1200" b="0" i="1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2</a:t>
                      </a:r>
                    </a:p>
                  </a:txBody>
                  <a:tcPr marL="0" marR="10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6497305"/>
                  </a:ext>
                </a:extLst>
              </a:tr>
              <a:tr h="1748736">
                <a:tc>
                  <a:txBody>
                    <a:bodyPr/>
                    <a:lstStyle/>
                    <a:p>
                      <a:pPr marL="176213" indent="0" algn="l">
                        <a:lnSpc>
                          <a:spcPct val="100000"/>
                        </a:lnSpc>
                      </a:pPr>
                      <a:r>
                        <a:rPr lang="nl-NL" sz="1400" b="1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Stap 2</a:t>
                      </a:r>
                    </a:p>
                  </a:txBody>
                  <a:tcPr marL="3600" marR="360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731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evomepromazine</a:t>
                      </a:r>
                    </a:p>
                  </a:txBody>
                  <a:tcPr marL="4680" marR="468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87313" indent="0" algn="l">
                        <a:lnSpc>
                          <a:spcPct val="100000"/>
                        </a:lnSpc>
                        <a:spcAft>
                          <a:spcPts val="600"/>
                        </a:spcAft>
                      </a:pPr>
                      <a:r>
                        <a:rPr lang="nl-NL" sz="1200" b="1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olus 50 mg</a:t>
                      </a:r>
                    </a:p>
                    <a:p>
                      <a:pPr marL="266700" indent="-179388" algn="l">
                        <a:lnSpc>
                          <a:spcPct val="100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oldoende na 6 uur: 12 uur na de start over op 25 mg 2dd1</a:t>
                      </a:r>
                      <a:b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voldoende na 6 uur: bolus van 50 mg en daarna 25 mg 4dd1</a:t>
                      </a:r>
                    </a:p>
                    <a:p>
                      <a:pPr marL="266700" marR="0" lvl="0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oldoende na 24 uur: overgaan op 50 mg 2dd1</a:t>
                      </a:r>
                      <a:b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voldoende na 24 uur: naar 75 mg 2dd1 met bolus 25 mg a 6 uur</a:t>
                      </a:r>
                    </a:p>
                    <a:p>
                      <a:pPr marL="266700" marR="0" lvl="0" indent="-179388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>
                          <a:schemeClr val="accent2"/>
                        </a:buClr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oldoende na 48 uur: 75mg 2dd1</a:t>
                      </a:r>
                      <a:b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nvoldoende na 48 uur: naar 100 mg 2dd1 met bolus 25 mg a 6 uur</a:t>
                      </a:r>
                    </a:p>
                  </a:txBody>
                  <a:tcPr marL="0" marR="10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09616842"/>
                  </a:ext>
                </a:extLst>
              </a:tr>
              <a:tr h="893436">
                <a:tc>
                  <a:txBody>
                    <a:bodyPr/>
                    <a:lstStyle/>
                    <a:p>
                      <a:pPr marL="176213" indent="0" algn="l">
                        <a:lnSpc>
                          <a:spcPct val="100000"/>
                        </a:lnSpc>
                      </a:pPr>
                      <a:r>
                        <a:rPr lang="nl-NL" sz="1400" b="1" kern="1200" dirty="0">
                          <a:solidFill>
                            <a:srgbClr val="484240"/>
                          </a:solidFill>
                          <a:latin typeface="+mn-lt"/>
                          <a:ea typeface="+mn-ea"/>
                          <a:cs typeface="+mn-cs"/>
                        </a:rPr>
                        <a:t>Stap 3</a:t>
                      </a:r>
                    </a:p>
                  </a:txBody>
                  <a:tcPr marL="3600" marR="3600" anchor="ctr">
                    <a:lnL w="12700" cmpd="sng">
                      <a:noFill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7313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l-NL" sz="14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pofol of fenobarbital</a:t>
                      </a:r>
                    </a:p>
                  </a:txBody>
                  <a:tcPr marL="4680" marR="468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66700" indent="-179388" algn="l">
                        <a:lnSpc>
                          <a:spcPct val="100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verleg altijd met een consultatieteam en/of anesthesioloog</a:t>
                      </a:r>
                    </a:p>
                    <a:p>
                      <a:pPr marL="266700" indent="-179388" algn="l">
                        <a:lnSpc>
                          <a:spcPct val="100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pofol 20-50 mg IV gevolgd door 100 mg/uur IV, evt per 5 min 20 mg IV</a:t>
                      </a:r>
                    </a:p>
                    <a:p>
                      <a:pPr marL="266700" indent="-179388" algn="l">
                        <a:lnSpc>
                          <a:spcPct val="100000"/>
                        </a:lnSpc>
                        <a:spcAft>
                          <a:spcPts val="600"/>
                        </a:spcAft>
                        <a:buClr>
                          <a:schemeClr val="accent2"/>
                        </a:buClr>
                        <a:buFont typeface="Arial" panose="020B0604020202020204" pitchFamily="34" charset="0"/>
                        <a:buChar char="•"/>
                      </a:pPr>
                      <a:r>
                        <a:rPr lang="nl-NL" sz="1200" b="0" strike="noStrike" kern="1200" spc="-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Fenobarbital 200 mg SC gevolgd door 40 mg/uur SC, evt per 4 uur 200 mg SC</a:t>
                      </a:r>
                    </a:p>
                  </a:txBody>
                  <a:tcPr marL="0" marR="10800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38652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74258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77657D-2CB4-4FFA-A7BB-1473498BE1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447675"/>
            <a:r>
              <a:rPr lang="en-US" dirty="0"/>
              <a:t>Casus 2</a:t>
            </a:r>
            <a:br>
              <a:rPr lang="en-US" dirty="0"/>
            </a:br>
            <a:r>
              <a:rPr lang="en-US" dirty="0" err="1">
                <a:solidFill>
                  <a:schemeClr val="accent6"/>
                </a:solidFill>
                <a:latin typeface="EB Garamond" panose="00000500000000000000" pitchFamily="2" charset="0"/>
                <a:ea typeface="EB Garamond" panose="00000500000000000000" pitchFamily="2" charset="0"/>
              </a:rPr>
              <a:t>Uitvoering</a:t>
            </a:r>
            <a:endParaRPr lang="ru-RU" dirty="0">
              <a:solidFill>
                <a:schemeClr val="accent6"/>
              </a:solidFill>
              <a:latin typeface="EB Garamond" panose="00000500000000000000" pitchFamily="2" charset="0"/>
              <a:ea typeface="EB Garamond" panose="00000500000000000000" pitchFamily="2" charset="0"/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9D25EDF2-BBC4-4241-95D4-2ED65F6F59A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83291" y="415382"/>
            <a:ext cx="285120" cy="316800"/>
          </a:xfrm>
          <a:prstGeom prst="rect">
            <a:avLst/>
          </a:prstGeom>
        </p:spPr>
      </p:pic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457F6612-F86C-4F74-907A-108FDA9D32A5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" b="99"/>
          <a:stretch>
            <a:fillRect/>
          </a:stretch>
        </p:blipFill>
        <p:spPr/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FBBB06CE-DC7A-44C5-BFC4-81D252DE1CF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308113" y="1449337"/>
            <a:ext cx="3587818" cy="468000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4A2EA60C-197F-46E2-8F3C-99D3BF567727}"/>
              </a:ext>
            </a:extLst>
          </p:cNvPr>
          <p:cNvSpPr txBox="1"/>
          <p:nvPr/>
        </p:nvSpPr>
        <p:spPr>
          <a:xfrm>
            <a:off x="4308113" y="1495054"/>
            <a:ext cx="3587818" cy="2028587"/>
          </a:xfrm>
          <a:prstGeom prst="rect">
            <a:avLst/>
          </a:prstGeom>
          <a:noFill/>
        </p:spPr>
        <p:txBody>
          <a:bodyPr wrap="square" lIns="108000" tIns="180000" rIns="108000" bIns="180000">
            <a:spAutoFit/>
          </a:bodyPr>
          <a:lstStyle/>
          <a:p>
            <a:pPr marL="72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120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nl-NL" sz="1800" b="1" i="0" u="none" strike="noStrike" kern="1200" cap="none" spc="-1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Lato"/>
              <a:cs typeface="+mn-cs"/>
            </a:endParaRPr>
          </a:p>
          <a:p>
            <a:pPr marL="177800" marR="0" lvl="0" indent="-1778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69D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l-NL" sz="1600" b="1" i="0" u="none" strike="noStrike" kern="1200" cap="none" spc="-1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Lato"/>
              <a:cs typeface="+mn-cs"/>
            </a:endParaRPr>
          </a:p>
          <a:p>
            <a:pPr marL="177800" marR="0" lvl="0" indent="-1778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69D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+mn-cs"/>
              </a:rPr>
              <a:t>Bv de sedatie wordt alleen 's avonds en </a:t>
            </a:r>
            <a:r>
              <a:rPr kumimoji="0" lang="nl-NL" sz="160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+mn-cs"/>
              </a:rPr>
              <a:t>'s nachts uitgevoerd</a:t>
            </a:r>
            <a:endParaRPr kumimoji="0" lang="nl-NL" sz="1600" b="0" i="0" u="none" strike="noStrike" kern="1200" cap="none" spc="-1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Lato"/>
              <a:cs typeface="+mn-cs"/>
            </a:endParaRPr>
          </a:p>
          <a:p>
            <a:pPr marL="177800" marR="0" lvl="0" indent="-17780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rgbClr val="769D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-1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+mn-cs"/>
              </a:rPr>
              <a:t>Pomp </a:t>
            </a:r>
            <a:r>
              <a:rPr kumimoji="0" lang="nl-NL" sz="160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+mn-cs"/>
              </a:rPr>
              <a:t>start om 20h </a:t>
            </a:r>
            <a:br>
              <a:rPr kumimoji="0" lang="nl-NL" sz="160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+mn-cs"/>
              </a:rPr>
            </a:br>
            <a:r>
              <a:rPr kumimoji="0" lang="nl-NL" sz="160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+mn-cs"/>
              </a:rPr>
              <a:t>en stopt om 06h</a:t>
            </a:r>
            <a:endParaRPr kumimoji="0" lang="nl-NL" sz="1600" b="0" i="0" u="none" strike="noStrike" kern="1200" cap="none" spc="-1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3E0189E2-DF51-4E25-9C4D-109B4BF8C045}"/>
              </a:ext>
            </a:extLst>
          </p:cNvPr>
          <p:cNvGrpSpPr/>
          <p:nvPr/>
        </p:nvGrpSpPr>
        <p:grpSpPr>
          <a:xfrm>
            <a:off x="4409801" y="1641475"/>
            <a:ext cx="536340" cy="536340"/>
            <a:chOff x="4305298" y="2184854"/>
            <a:chExt cx="536340" cy="536340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5B396638-41F7-42D1-B1E9-7427767632DD}"/>
                </a:ext>
              </a:extLst>
            </p:cNvPr>
            <p:cNvSpPr/>
            <p:nvPr/>
          </p:nvSpPr>
          <p:spPr>
            <a:xfrm>
              <a:off x="4305298" y="2184854"/>
              <a:ext cx="536340" cy="536340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pic>
          <p:nvPicPr>
            <p:cNvPr id="19" name="Graphic 18">
              <a:extLst>
                <a:ext uri="{FF2B5EF4-FFF2-40B4-BE49-F238E27FC236}">
                  <a16:creationId xmlns:a16="http://schemas.microsoft.com/office/drawing/2014/main" id="{B9338FF9-9945-4E8B-A9A1-C6C794E942D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486923" y="2327024"/>
              <a:ext cx="173091" cy="252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93331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282667-71EF-420E-B148-627AFD071C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ru-RU" dirty="0"/>
          </a:p>
        </p:txBody>
      </p:sp>
      <p:sp>
        <p:nvSpPr>
          <p:cNvPr id="3" name="Rectangle 2">
            <a:hlinkClick r:id="" action="ppaction://noaction"/>
            <a:extLst>
              <a:ext uri="{FF2B5EF4-FFF2-40B4-BE49-F238E27FC236}">
                <a16:creationId xmlns:a16="http://schemas.microsoft.com/office/drawing/2014/main" id="{979A8A35-829A-4AB5-BAB3-64D778E6C91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35085" y="1449388"/>
            <a:ext cx="1668727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Achtergrond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</a:p>
        </p:txBody>
      </p:sp>
      <p:sp>
        <p:nvSpPr>
          <p:cNvPr id="4" name="Rectangle 3">
            <a:hlinkClick r:id="rId22" action="ppaction://hlinksldjump"/>
            <a:extLst>
              <a:ext uri="{FF2B5EF4-FFF2-40B4-BE49-F238E27FC236}">
                <a16:creationId xmlns:a16="http://schemas.microsoft.com/office/drawing/2014/main" id="{4ED52BB0-8BEB-473E-9AE4-6B18D951B04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71475" y="1449388"/>
            <a:ext cx="400110" cy="40011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1</a:t>
            </a:r>
          </a:p>
        </p:txBody>
      </p:sp>
      <p:sp>
        <p:nvSpPr>
          <p:cNvPr id="5" name="Rectangle 4">
            <a:hlinkClick r:id="" action="ppaction://noaction"/>
            <a:extLst>
              <a:ext uri="{FF2B5EF4-FFF2-40B4-BE49-F238E27FC236}">
                <a16:creationId xmlns:a16="http://schemas.microsoft.com/office/drawing/2014/main" id="{CB257035-02EF-4D0A-B788-C9157438BF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35086" y="2373271"/>
            <a:ext cx="18441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efinitie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</a:p>
        </p:txBody>
      </p:sp>
      <p:sp>
        <p:nvSpPr>
          <p:cNvPr id="6" name="Rectangle 5">
            <a:hlinkClick r:id="" action="ppaction://noaction"/>
            <a:extLst>
              <a:ext uri="{FF2B5EF4-FFF2-40B4-BE49-F238E27FC236}">
                <a16:creationId xmlns:a16="http://schemas.microsoft.com/office/drawing/2014/main" id="{3AEE79DE-3F80-49AC-8AFF-9ED659D34CA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71475" y="2373271"/>
            <a:ext cx="400110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1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.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9" name="Rectangle 8">
            <a:hlinkClick r:id="" action="ppaction://noaction"/>
            <a:extLst>
              <a:ext uri="{FF2B5EF4-FFF2-40B4-BE49-F238E27FC236}">
                <a16:creationId xmlns:a16="http://schemas.microsoft.com/office/drawing/2014/main" id="{6CA52C68-00B6-45AE-A419-C2A55143489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35086" y="1908486"/>
            <a:ext cx="18441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Cijfer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 </a:t>
            </a:r>
          </a:p>
        </p:txBody>
      </p:sp>
      <p:sp>
        <p:nvSpPr>
          <p:cNvPr id="10" name="Rectangle 9">
            <a:hlinkClick r:id="rId23" action="ppaction://hlinksldjump"/>
            <a:extLst>
              <a:ext uri="{FF2B5EF4-FFF2-40B4-BE49-F238E27FC236}">
                <a16:creationId xmlns:a16="http://schemas.microsoft.com/office/drawing/2014/main" id="{398CFDB7-1949-4132-B80E-E45F52890F8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71475" y="1908486"/>
            <a:ext cx="400110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1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.1</a:t>
            </a:r>
          </a:p>
        </p:txBody>
      </p:sp>
      <p:sp>
        <p:nvSpPr>
          <p:cNvPr id="17" name="Rectangle 16">
            <a:hlinkClick r:id="" action="ppaction://noaction"/>
            <a:extLst>
              <a:ext uri="{FF2B5EF4-FFF2-40B4-BE49-F238E27FC236}">
                <a16:creationId xmlns:a16="http://schemas.microsoft.com/office/drawing/2014/main" id="{167497C3-3705-40B3-A8AD-6E57DAEF924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35085" y="5727255"/>
            <a:ext cx="1668727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Cases </a:t>
            </a:r>
          </a:p>
        </p:txBody>
      </p:sp>
      <p:sp>
        <p:nvSpPr>
          <p:cNvPr id="18" name="Rectangle 17">
            <a:hlinkClick r:id="rId22" action="ppaction://hlinksldjump"/>
            <a:extLst>
              <a:ext uri="{FF2B5EF4-FFF2-40B4-BE49-F238E27FC236}">
                <a16:creationId xmlns:a16="http://schemas.microsoft.com/office/drawing/2014/main" id="{6689A4FF-AEB1-4171-9D2A-1F9C48EEB63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371475" y="5727255"/>
            <a:ext cx="400110" cy="40011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3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4" name="Rectangle 23">
            <a:hlinkClick r:id="" action="ppaction://noaction"/>
            <a:extLst>
              <a:ext uri="{FF2B5EF4-FFF2-40B4-BE49-F238E27FC236}">
                <a16:creationId xmlns:a16="http://schemas.microsoft.com/office/drawing/2014/main" id="{2C079603-C4D3-432F-B3C8-94B8B012CA5D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4768910" y="1449388"/>
            <a:ext cx="254629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Ervaring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naasten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5" name="Rectangle 24">
            <a:hlinkClick r:id="rId22" action="ppaction://hlinksldjump"/>
            <a:extLst>
              <a:ext uri="{FF2B5EF4-FFF2-40B4-BE49-F238E27FC236}">
                <a16:creationId xmlns:a16="http://schemas.microsoft.com/office/drawing/2014/main" id="{BD58595F-8794-4864-9789-8FD7E5C1705C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4305300" y="1449388"/>
            <a:ext cx="400110" cy="40011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4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33" name="Rectangle 32">
            <a:hlinkClick r:id="" action="ppaction://noaction"/>
            <a:extLst>
              <a:ext uri="{FF2B5EF4-FFF2-40B4-BE49-F238E27FC236}">
                <a16:creationId xmlns:a16="http://schemas.microsoft.com/office/drawing/2014/main" id="{8AA14071-21A1-4EE7-B1FC-32DBEA8EED51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4768910" y="3359102"/>
            <a:ext cx="1668727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Kernpunte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</a:p>
        </p:txBody>
      </p:sp>
      <p:sp>
        <p:nvSpPr>
          <p:cNvPr id="34" name="Rectangle 33">
            <a:hlinkClick r:id="rId22" action="ppaction://hlinksldjump"/>
            <a:extLst>
              <a:ext uri="{FF2B5EF4-FFF2-40B4-BE49-F238E27FC236}">
                <a16:creationId xmlns:a16="http://schemas.microsoft.com/office/drawing/2014/main" id="{1E50C2C1-C14F-485C-82D8-2AD918EA411C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4305300" y="3359102"/>
            <a:ext cx="400110" cy="40011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5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1" name="Rectangle 10">
            <a:hlinkClick r:id="" action="ppaction://noaction"/>
            <a:extLst>
              <a:ext uri="{FF2B5EF4-FFF2-40B4-BE49-F238E27FC236}">
                <a16:creationId xmlns:a16="http://schemas.microsoft.com/office/drawing/2014/main" id="{15A86733-AF1B-4111-A893-E4DB13ED9222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35085" y="3353518"/>
            <a:ext cx="238420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Vorme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&amp;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uitvoering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</a:p>
        </p:txBody>
      </p:sp>
      <p:sp>
        <p:nvSpPr>
          <p:cNvPr id="12" name="Rectangle 11">
            <a:hlinkClick r:id="rId22" action="ppaction://hlinksldjump"/>
            <a:extLst>
              <a:ext uri="{FF2B5EF4-FFF2-40B4-BE49-F238E27FC236}">
                <a16:creationId xmlns:a16="http://schemas.microsoft.com/office/drawing/2014/main" id="{DB65AB04-D376-4E44-AEEF-9BE89CFD1849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371475" y="3353518"/>
            <a:ext cx="400110" cy="40011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3" name="Rectangle 12">
            <a:hlinkClick r:id="" action="ppaction://noaction"/>
            <a:extLst>
              <a:ext uri="{FF2B5EF4-FFF2-40B4-BE49-F238E27FC236}">
                <a16:creationId xmlns:a16="http://schemas.microsoft.com/office/drawing/2014/main" id="{7F1D4EC3-7269-4D44-BFAF-91762276B2A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31910" y="4277401"/>
            <a:ext cx="2067651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ntermitterend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</a:p>
        </p:txBody>
      </p:sp>
      <p:sp>
        <p:nvSpPr>
          <p:cNvPr id="14" name="Rectangle 13">
            <a:hlinkClick r:id="" action="ppaction://noaction"/>
            <a:extLst>
              <a:ext uri="{FF2B5EF4-FFF2-40B4-BE49-F238E27FC236}">
                <a16:creationId xmlns:a16="http://schemas.microsoft.com/office/drawing/2014/main" id="{0C4A67A7-8E45-4BAC-B060-C39EB4697874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368300" y="4277401"/>
            <a:ext cx="400110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.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5" name="Rectangle 14">
            <a:hlinkClick r:id="" action="ppaction://noaction"/>
            <a:extLst>
              <a:ext uri="{FF2B5EF4-FFF2-40B4-BE49-F238E27FC236}">
                <a16:creationId xmlns:a16="http://schemas.microsoft.com/office/drawing/2014/main" id="{40603682-3075-44D3-AAEF-2A0F27316280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831911" y="3812616"/>
            <a:ext cx="18441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Contin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</a:p>
        </p:txBody>
      </p:sp>
      <p:sp>
        <p:nvSpPr>
          <p:cNvPr id="16" name="Rectangle 15">
            <a:hlinkClick r:id="rId23" action="ppaction://hlinksldjump"/>
            <a:extLst>
              <a:ext uri="{FF2B5EF4-FFF2-40B4-BE49-F238E27FC236}">
                <a16:creationId xmlns:a16="http://schemas.microsoft.com/office/drawing/2014/main" id="{87F5DF6E-66E1-4E76-853D-E8EE2EB56DA0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368300" y="3812616"/>
            <a:ext cx="400110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.1</a:t>
            </a:r>
          </a:p>
        </p:txBody>
      </p:sp>
      <p:sp>
        <p:nvSpPr>
          <p:cNvPr id="47" name="Rectangle 46">
            <a:hlinkClick r:id="" action="ppaction://noaction"/>
            <a:extLst>
              <a:ext uri="{FF2B5EF4-FFF2-40B4-BE49-F238E27FC236}">
                <a16:creationId xmlns:a16="http://schemas.microsoft.com/office/drawing/2014/main" id="{EC64A62F-6BC2-43AD-924A-DC6AF3A1C68D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831910" y="4747008"/>
            <a:ext cx="2067651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Acuu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 </a:t>
            </a:r>
          </a:p>
        </p:txBody>
      </p:sp>
      <p:sp>
        <p:nvSpPr>
          <p:cNvPr id="48" name="Rectangle 47">
            <a:hlinkClick r:id="" action="ppaction://noaction"/>
            <a:extLst>
              <a:ext uri="{FF2B5EF4-FFF2-40B4-BE49-F238E27FC236}">
                <a16:creationId xmlns:a16="http://schemas.microsoft.com/office/drawing/2014/main" id="{64A5D01F-26AC-43E7-AB7A-54DC202B7751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368300" y="4747008"/>
            <a:ext cx="400110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.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3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5987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ECBE45-0FC9-440F-A186-3EE0AB1655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e </a:t>
            </a:r>
            <a:r>
              <a:rPr lang="en-US" dirty="0" err="1"/>
              <a:t>juiste</a:t>
            </a:r>
            <a:r>
              <a:rPr lang="en-US" dirty="0"/>
              <a:t> </a:t>
            </a:r>
            <a:r>
              <a:rPr lang="en-US" dirty="0" err="1"/>
              <a:t>informatie</a:t>
            </a:r>
            <a:r>
              <a:rPr lang="en-US" dirty="0"/>
              <a:t> </a:t>
            </a:r>
            <a:r>
              <a:rPr lang="en-US" dirty="0" err="1"/>
              <a:t>ontvangen</a:t>
            </a:r>
            <a:r>
              <a:rPr lang="en-US" dirty="0"/>
              <a:t>?</a:t>
            </a:r>
            <a:endParaRPr lang="ru-RU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DF08CA6-198D-4BC6-956F-5D411CFBBA9C}"/>
              </a:ext>
            </a:extLst>
          </p:cNvPr>
          <p:cNvGraphicFramePr/>
          <p:nvPr/>
        </p:nvGraphicFramePr>
        <p:xfrm>
          <a:off x="371476" y="1449389"/>
          <a:ext cx="11449049" cy="4679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57FB0592-9576-42C6-8918-BB2B1B7B4ABD}"/>
              </a:ext>
            </a:extLst>
          </p:cNvPr>
          <p:cNvSpPr txBox="1"/>
          <p:nvPr/>
        </p:nvSpPr>
        <p:spPr>
          <a:xfrm>
            <a:off x="371475" y="6209944"/>
            <a:ext cx="4537075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800" b="0" i="1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Patiëntenfederatie 2019</a:t>
            </a:r>
          </a:p>
        </p:txBody>
      </p:sp>
    </p:spTree>
    <p:extLst>
      <p:ext uri="{BB962C8B-B14F-4D97-AF65-F5344CB8AC3E}">
        <p14:creationId xmlns:p14="http://schemas.microsoft.com/office/powerpoint/2010/main" val="3435942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ECBE45-0FC9-440F-A186-3EE0AB1655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Ervaring met duur van de sedatie</a:t>
            </a:r>
            <a:endParaRPr lang="ru-RU" dirty="0"/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21461CF1-482B-444F-80D1-822ADDC90F04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558" r="9528"/>
          <a:stretch/>
        </p:blipFill>
        <p:spPr>
          <a:xfrm>
            <a:off x="372150" y="1449338"/>
            <a:ext cx="3571200" cy="4680000"/>
          </a:xfrm>
        </p:spPr>
      </p:pic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BDF08CA6-198D-4BC6-956F-5D411CFBBA9C}"/>
              </a:ext>
            </a:extLst>
          </p:cNvPr>
          <p:cNvGraphicFramePr/>
          <p:nvPr/>
        </p:nvGraphicFramePr>
        <p:xfrm>
          <a:off x="4305300" y="1449389"/>
          <a:ext cx="7515225" cy="4679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41E035A1-B09A-400B-A431-0283C4AEBDA5}"/>
              </a:ext>
            </a:extLst>
          </p:cNvPr>
          <p:cNvSpPr txBox="1"/>
          <p:nvPr/>
        </p:nvSpPr>
        <p:spPr>
          <a:xfrm>
            <a:off x="371475" y="6209944"/>
            <a:ext cx="4537075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800" b="0" i="1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Patiëntenfederatie 2019</a:t>
            </a:r>
          </a:p>
        </p:txBody>
      </p:sp>
    </p:spTree>
    <p:extLst>
      <p:ext uri="{BB962C8B-B14F-4D97-AF65-F5344CB8AC3E}">
        <p14:creationId xmlns:p14="http://schemas.microsoft.com/office/powerpoint/2010/main" val="398365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6794DF-325B-41A6-803E-BE7723B3D7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Ervaring</a:t>
            </a:r>
            <a:r>
              <a:rPr lang="en-US" dirty="0"/>
              <a:t> </a:t>
            </a:r>
            <a:r>
              <a:rPr lang="en-US" dirty="0" err="1"/>
              <a:t>naasten</a:t>
            </a:r>
            <a:r>
              <a:rPr lang="en-US" dirty="0"/>
              <a:t> </a:t>
            </a:r>
            <a:endParaRPr lang="ru-RU" dirty="0"/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0DF59536-3F52-4390-BC89-C10972D33B70}"/>
              </a:ext>
            </a:extLst>
          </p:cNvPr>
          <p:cNvPicPr>
            <a:picLocks noGrp="1" noChangeAspect="1"/>
          </p:cNvPicPr>
          <p:nvPr>
            <p:ph type="pic" sz="quarter" idx="19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64" r="24564"/>
          <a:stretch>
            <a:fillRect/>
          </a:stretch>
        </p:blipFill>
        <p:spPr/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4A376FD-80A2-4EA8-8EB6-3DA43072B142}"/>
              </a:ext>
            </a:extLst>
          </p:cNvPr>
          <p:cNvSpPr txBox="1"/>
          <p:nvPr/>
        </p:nvSpPr>
        <p:spPr>
          <a:xfrm>
            <a:off x="4314695" y="2178000"/>
            <a:ext cx="3571200" cy="553998"/>
          </a:xfrm>
          <a:prstGeom prst="rect">
            <a:avLst/>
          </a:prstGeom>
          <a:noFill/>
        </p:spPr>
        <p:txBody>
          <a:bodyPr wrap="square" lIns="0" tIns="0" rIns="0" bIns="0" numCol="1" spcCol="360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769D94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Over het algemeen </a:t>
            </a:r>
            <a:b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769D94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769D94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(erg) tevreden</a:t>
            </a: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6C121B10-8C47-4B42-8BFD-F83C60222A0A}"/>
              </a:ext>
            </a:extLst>
          </p:cNvPr>
          <p:cNvSpPr/>
          <p:nvPr/>
        </p:nvSpPr>
        <p:spPr>
          <a:xfrm>
            <a:off x="4314695" y="1458425"/>
            <a:ext cx="536340" cy="53634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1C2D7E6-55EB-4724-A44A-916FB69A2188}"/>
              </a:ext>
            </a:extLst>
          </p:cNvPr>
          <p:cNvSpPr txBox="1"/>
          <p:nvPr/>
        </p:nvSpPr>
        <p:spPr>
          <a:xfrm>
            <a:off x="8249325" y="2178000"/>
            <a:ext cx="3571200" cy="1846659"/>
          </a:xfrm>
          <a:prstGeom prst="rect">
            <a:avLst/>
          </a:prstGeom>
          <a:noFill/>
        </p:spPr>
        <p:txBody>
          <a:bodyPr wrap="square" lIns="0" tIns="0" rIns="0" bIns="0" numCol="1" spcCol="360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769D94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Meest ontevreden </a:t>
            </a:r>
            <a:b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769D94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769D94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zijn naasten als: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769D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e sedatie langer duurt dan verwacht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769D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Als de patiënt weer wakker wordt (terwijl zij niet wisten dat dat kon)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769D94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lechte (onderlinge) communicatie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1CDF708F-214D-4F6E-A018-766EC4B56D5C}"/>
              </a:ext>
            </a:extLst>
          </p:cNvPr>
          <p:cNvSpPr/>
          <p:nvPr/>
        </p:nvSpPr>
        <p:spPr>
          <a:xfrm>
            <a:off x="8249325" y="1458425"/>
            <a:ext cx="536340" cy="53634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E93D5F38-75F9-4569-AB48-2306CF0281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64495" y="1597203"/>
            <a:ext cx="306000" cy="258785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3D6CD287-2F67-4EAF-A869-7CBDD451B2F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29865" y="1593318"/>
            <a:ext cx="306000" cy="2665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55266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282667-71EF-420E-B148-627AFD071C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ru-RU" dirty="0"/>
          </a:p>
        </p:txBody>
      </p:sp>
      <p:sp>
        <p:nvSpPr>
          <p:cNvPr id="3" name="Rectangle 2">
            <a:hlinkClick r:id="" action="ppaction://noaction"/>
            <a:extLst>
              <a:ext uri="{FF2B5EF4-FFF2-40B4-BE49-F238E27FC236}">
                <a16:creationId xmlns:a16="http://schemas.microsoft.com/office/drawing/2014/main" id="{979A8A35-829A-4AB5-BAB3-64D778E6C914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835085" y="1449388"/>
            <a:ext cx="1668727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Achtergrond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</a:p>
        </p:txBody>
      </p:sp>
      <p:sp>
        <p:nvSpPr>
          <p:cNvPr id="4" name="Rectangle 3">
            <a:hlinkClick r:id="rId22" action="ppaction://hlinksldjump"/>
            <a:extLst>
              <a:ext uri="{FF2B5EF4-FFF2-40B4-BE49-F238E27FC236}">
                <a16:creationId xmlns:a16="http://schemas.microsoft.com/office/drawing/2014/main" id="{4ED52BB0-8BEB-473E-9AE4-6B18D951B045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371475" y="1449388"/>
            <a:ext cx="400110" cy="40011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1</a:t>
            </a:r>
          </a:p>
        </p:txBody>
      </p:sp>
      <p:sp>
        <p:nvSpPr>
          <p:cNvPr id="5" name="Rectangle 4">
            <a:hlinkClick r:id="" action="ppaction://noaction"/>
            <a:extLst>
              <a:ext uri="{FF2B5EF4-FFF2-40B4-BE49-F238E27FC236}">
                <a16:creationId xmlns:a16="http://schemas.microsoft.com/office/drawing/2014/main" id="{CB257035-02EF-4D0A-B788-C9157438BF2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835086" y="2373271"/>
            <a:ext cx="18441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Definitie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</a:p>
        </p:txBody>
      </p:sp>
      <p:sp>
        <p:nvSpPr>
          <p:cNvPr id="6" name="Rectangle 5">
            <a:hlinkClick r:id="" action="ppaction://noaction"/>
            <a:extLst>
              <a:ext uri="{FF2B5EF4-FFF2-40B4-BE49-F238E27FC236}">
                <a16:creationId xmlns:a16="http://schemas.microsoft.com/office/drawing/2014/main" id="{3AEE79DE-3F80-49AC-8AFF-9ED659D34CA5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371475" y="2373271"/>
            <a:ext cx="400110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1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.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9" name="Rectangle 8">
            <a:hlinkClick r:id="" action="ppaction://noaction"/>
            <a:extLst>
              <a:ext uri="{FF2B5EF4-FFF2-40B4-BE49-F238E27FC236}">
                <a16:creationId xmlns:a16="http://schemas.microsoft.com/office/drawing/2014/main" id="{6CA52C68-00B6-45AE-A419-C2A551434892}"/>
              </a:ext>
            </a:extLst>
          </p:cNvPr>
          <p:cNvSpPr/>
          <p:nvPr>
            <p:custDataLst>
              <p:tags r:id="rId5"/>
            </p:custDataLst>
          </p:nvPr>
        </p:nvSpPr>
        <p:spPr>
          <a:xfrm>
            <a:off x="835086" y="1908486"/>
            <a:ext cx="18441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Cijfers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 </a:t>
            </a:r>
          </a:p>
        </p:txBody>
      </p:sp>
      <p:sp>
        <p:nvSpPr>
          <p:cNvPr id="10" name="Rectangle 9">
            <a:hlinkClick r:id="rId23" action="ppaction://hlinksldjump"/>
            <a:extLst>
              <a:ext uri="{FF2B5EF4-FFF2-40B4-BE49-F238E27FC236}">
                <a16:creationId xmlns:a16="http://schemas.microsoft.com/office/drawing/2014/main" id="{398CFDB7-1949-4132-B80E-E45F52890F8B}"/>
              </a:ext>
            </a:extLst>
          </p:cNvPr>
          <p:cNvSpPr/>
          <p:nvPr>
            <p:custDataLst>
              <p:tags r:id="rId6"/>
            </p:custDataLst>
          </p:nvPr>
        </p:nvSpPr>
        <p:spPr>
          <a:xfrm>
            <a:off x="371475" y="1908486"/>
            <a:ext cx="400110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1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.1</a:t>
            </a:r>
          </a:p>
        </p:txBody>
      </p:sp>
      <p:sp>
        <p:nvSpPr>
          <p:cNvPr id="17" name="Rectangle 16">
            <a:hlinkClick r:id="" action="ppaction://noaction"/>
            <a:extLst>
              <a:ext uri="{FF2B5EF4-FFF2-40B4-BE49-F238E27FC236}">
                <a16:creationId xmlns:a16="http://schemas.microsoft.com/office/drawing/2014/main" id="{167497C3-3705-40B3-A8AD-6E57DAEF924E}"/>
              </a:ext>
            </a:extLst>
          </p:cNvPr>
          <p:cNvSpPr/>
          <p:nvPr>
            <p:custDataLst>
              <p:tags r:id="rId7"/>
            </p:custDataLst>
          </p:nvPr>
        </p:nvSpPr>
        <p:spPr>
          <a:xfrm>
            <a:off x="835085" y="5727255"/>
            <a:ext cx="1668727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Cases </a:t>
            </a:r>
          </a:p>
        </p:txBody>
      </p:sp>
      <p:sp>
        <p:nvSpPr>
          <p:cNvPr id="18" name="Rectangle 17">
            <a:hlinkClick r:id="rId22" action="ppaction://hlinksldjump"/>
            <a:extLst>
              <a:ext uri="{FF2B5EF4-FFF2-40B4-BE49-F238E27FC236}">
                <a16:creationId xmlns:a16="http://schemas.microsoft.com/office/drawing/2014/main" id="{6689A4FF-AEB1-4171-9D2A-1F9C48EEB634}"/>
              </a:ext>
            </a:extLst>
          </p:cNvPr>
          <p:cNvSpPr/>
          <p:nvPr>
            <p:custDataLst>
              <p:tags r:id="rId8"/>
            </p:custDataLst>
          </p:nvPr>
        </p:nvSpPr>
        <p:spPr>
          <a:xfrm>
            <a:off x="371475" y="5727255"/>
            <a:ext cx="400110" cy="40011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3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4" name="Rectangle 23">
            <a:hlinkClick r:id="" action="ppaction://noaction"/>
            <a:extLst>
              <a:ext uri="{FF2B5EF4-FFF2-40B4-BE49-F238E27FC236}">
                <a16:creationId xmlns:a16="http://schemas.microsoft.com/office/drawing/2014/main" id="{2C079603-C4D3-432F-B3C8-94B8B012CA5D}"/>
              </a:ext>
            </a:extLst>
          </p:cNvPr>
          <p:cNvSpPr/>
          <p:nvPr>
            <p:custDataLst>
              <p:tags r:id="rId9"/>
            </p:custDataLst>
          </p:nvPr>
        </p:nvSpPr>
        <p:spPr>
          <a:xfrm>
            <a:off x="4768910" y="1449388"/>
            <a:ext cx="2546290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Ervaring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naasten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B2B2B2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5" name="Rectangle 24">
            <a:hlinkClick r:id="rId22" action="ppaction://hlinksldjump"/>
            <a:extLst>
              <a:ext uri="{FF2B5EF4-FFF2-40B4-BE49-F238E27FC236}">
                <a16:creationId xmlns:a16="http://schemas.microsoft.com/office/drawing/2014/main" id="{BD58595F-8794-4864-9789-8FD7E5C1705C}"/>
              </a:ext>
            </a:extLst>
          </p:cNvPr>
          <p:cNvSpPr/>
          <p:nvPr>
            <p:custDataLst>
              <p:tags r:id="rId10"/>
            </p:custDataLst>
          </p:nvPr>
        </p:nvSpPr>
        <p:spPr>
          <a:xfrm>
            <a:off x="4305300" y="1449388"/>
            <a:ext cx="400110" cy="40011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4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33" name="Rectangle 32">
            <a:hlinkClick r:id="" action="ppaction://noaction"/>
            <a:extLst>
              <a:ext uri="{FF2B5EF4-FFF2-40B4-BE49-F238E27FC236}">
                <a16:creationId xmlns:a16="http://schemas.microsoft.com/office/drawing/2014/main" id="{8AA14071-21A1-4EE7-B1FC-32DBEA8EED51}"/>
              </a:ext>
            </a:extLst>
          </p:cNvPr>
          <p:cNvSpPr/>
          <p:nvPr>
            <p:custDataLst>
              <p:tags r:id="rId11"/>
            </p:custDataLst>
          </p:nvPr>
        </p:nvSpPr>
        <p:spPr>
          <a:xfrm>
            <a:off x="4768910" y="3359102"/>
            <a:ext cx="1668727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Kernpunten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</a:p>
        </p:txBody>
      </p:sp>
      <p:sp>
        <p:nvSpPr>
          <p:cNvPr id="34" name="Rectangle 33">
            <a:hlinkClick r:id="rId22" action="ppaction://hlinksldjump"/>
            <a:extLst>
              <a:ext uri="{FF2B5EF4-FFF2-40B4-BE49-F238E27FC236}">
                <a16:creationId xmlns:a16="http://schemas.microsoft.com/office/drawing/2014/main" id="{1E50C2C1-C14F-485C-82D8-2AD918EA411C}"/>
              </a:ext>
            </a:extLst>
          </p:cNvPr>
          <p:cNvSpPr/>
          <p:nvPr>
            <p:custDataLst>
              <p:tags r:id="rId12"/>
            </p:custDataLst>
          </p:nvPr>
        </p:nvSpPr>
        <p:spPr>
          <a:xfrm>
            <a:off x="4305300" y="3359102"/>
            <a:ext cx="400110" cy="400110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5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1" name="Rectangle 10">
            <a:hlinkClick r:id="" action="ppaction://noaction"/>
            <a:extLst>
              <a:ext uri="{FF2B5EF4-FFF2-40B4-BE49-F238E27FC236}">
                <a16:creationId xmlns:a16="http://schemas.microsoft.com/office/drawing/2014/main" id="{15A86733-AF1B-4111-A893-E4DB13ED9222}"/>
              </a:ext>
            </a:extLst>
          </p:cNvPr>
          <p:cNvSpPr/>
          <p:nvPr>
            <p:custDataLst>
              <p:tags r:id="rId13"/>
            </p:custDataLst>
          </p:nvPr>
        </p:nvSpPr>
        <p:spPr>
          <a:xfrm>
            <a:off x="835085" y="3353518"/>
            <a:ext cx="2384208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Vormen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&amp; 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uitvoering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</a:p>
        </p:txBody>
      </p:sp>
      <p:sp>
        <p:nvSpPr>
          <p:cNvPr id="12" name="Rectangle 11">
            <a:hlinkClick r:id="rId22" action="ppaction://hlinksldjump"/>
            <a:extLst>
              <a:ext uri="{FF2B5EF4-FFF2-40B4-BE49-F238E27FC236}">
                <a16:creationId xmlns:a16="http://schemas.microsoft.com/office/drawing/2014/main" id="{DB65AB04-D376-4E44-AEEF-9BE89CFD1849}"/>
              </a:ext>
            </a:extLst>
          </p:cNvPr>
          <p:cNvSpPr/>
          <p:nvPr>
            <p:custDataLst>
              <p:tags r:id="rId14"/>
            </p:custDataLst>
          </p:nvPr>
        </p:nvSpPr>
        <p:spPr>
          <a:xfrm>
            <a:off x="371475" y="3353518"/>
            <a:ext cx="400110" cy="400110"/>
          </a:xfrm>
          <a:prstGeom prst="rect">
            <a:avLst/>
          </a:prstGeom>
          <a:solidFill>
            <a:schemeClr val="accent5"/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3" name="Rectangle 12">
            <a:hlinkClick r:id="" action="ppaction://noaction"/>
            <a:extLst>
              <a:ext uri="{FF2B5EF4-FFF2-40B4-BE49-F238E27FC236}">
                <a16:creationId xmlns:a16="http://schemas.microsoft.com/office/drawing/2014/main" id="{7F1D4EC3-7269-4D44-BFAF-91762276B2A7}"/>
              </a:ext>
            </a:extLst>
          </p:cNvPr>
          <p:cNvSpPr/>
          <p:nvPr>
            <p:custDataLst>
              <p:tags r:id="rId15"/>
            </p:custDataLst>
          </p:nvPr>
        </p:nvSpPr>
        <p:spPr>
          <a:xfrm>
            <a:off x="831910" y="4277401"/>
            <a:ext cx="2067651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ntermitterend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</a:p>
        </p:txBody>
      </p:sp>
      <p:sp>
        <p:nvSpPr>
          <p:cNvPr id="14" name="Rectangle 13">
            <a:hlinkClick r:id="" action="ppaction://noaction"/>
            <a:extLst>
              <a:ext uri="{FF2B5EF4-FFF2-40B4-BE49-F238E27FC236}">
                <a16:creationId xmlns:a16="http://schemas.microsoft.com/office/drawing/2014/main" id="{0C4A67A7-8E45-4BAC-B060-C39EB4697874}"/>
              </a:ext>
            </a:extLst>
          </p:cNvPr>
          <p:cNvSpPr/>
          <p:nvPr>
            <p:custDataLst>
              <p:tags r:id="rId16"/>
            </p:custDataLst>
          </p:nvPr>
        </p:nvSpPr>
        <p:spPr>
          <a:xfrm>
            <a:off x="368300" y="4277401"/>
            <a:ext cx="400110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.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5" name="Rectangle 14">
            <a:hlinkClick r:id="" action="ppaction://noaction"/>
            <a:extLst>
              <a:ext uri="{FF2B5EF4-FFF2-40B4-BE49-F238E27FC236}">
                <a16:creationId xmlns:a16="http://schemas.microsoft.com/office/drawing/2014/main" id="{40603682-3075-44D3-AAEF-2A0F27316280}"/>
              </a:ext>
            </a:extLst>
          </p:cNvPr>
          <p:cNvSpPr/>
          <p:nvPr>
            <p:custDataLst>
              <p:tags r:id="rId17"/>
            </p:custDataLst>
          </p:nvPr>
        </p:nvSpPr>
        <p:spPr>
          <a:xfrm>
            <a:off x="831911" y="3812616"/>
            <a:ext cx="1844132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Continu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</a:t>
            </a:r>
          </a:p>
        </p:txBody>
      </p:sp>
      <p:sp>
        <p:nvSpPr>
          <p:cNvPr id="16" name="Rectangle 15">
            <a:hlinkClick r:id="rId23" action="ppaction://hlinksldjump"/>
            <a:extLst>
              <a:ext uri="{FF2B5EF4-FFF2-40B4-BE49-F238E27FC236}">
                <a16:creationId xmlns:a16="http://schemas.microsoft.com/office/drawing/2014/main" id="{87F5DF6E-66E1-4E76-853D-E8EE2EB56DA0}"/>
              </a:ext>
            </a:extLst>
          </p:cNvPr>
          <p:cNvSpPr/>
          <p:nvPr>
            <p:custDataLst>
              <p:tags r:id="rId18"/>
            </p:custDataLst>
          </p:nvPr>
        </p:nvSpPr>
        <p:spPr>
          <a:xfrm>
            <a:off x="368300" y="3812616"/>
            <a:ext cx="400110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.1</a:t>
            </a:r>
          </a:p>
        </p:txBody>
      </p:sp>
      <p:sp>
        <p:nvSpPr>
          <p:cNvPr id="47" name="Rectangle 46">
            <a:hlinkClick r:id="" action="ppaction://noaction"/>
            <a:extLst>
              <a:ext uri="{FF2B5EF4-FFF2-40B4-BE49-F238E27FC236}">
                <a16:creationId xmlns:a16="http://schemas.microsoft.com/office/drawing/2014/main" id="{EC64A62F-6BC2-43AD-924A-DC6AF3A1C68D}"/>
              </a:ext>
            </a:extLst>
          </p:cNvPr>
          <p:cNvSpPr/>
          <p:nvPr>
            <p:custDataLst>
              <p:tags r:id="rId19"/>
            </p:custDataLst>
          </p:nvPr>
        </p:nvSpPr>
        <p:spPr>
          <a:xfrm>
            <a:off x="831910" y="4747008"/>
            <a:ext cx="2067651" cy="40011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0" bIns="762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Acuu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 </a:t>
            </a:r>
          </a:p>
        </p:txBody>
      </p:sp>
      <p:sp>
        <p:nvSpPr>
          <p:cNvPr id="48" name="Rectangle 47">
            <a:hlinkClick r:id="" action="ppaction://noaction"/>
            <a:extLst>
              <a:ext uri="{FF2B5EF4-FFF2-40B4-BE49-F238E27FC236}">
                <a16:creationId xmlns:a16="http://schemas.microsoft.com/office/drawing/2014/main" id="{64A5D01F-26AC-43E7-AB7A-54DC202B7751}"/>
              </a:ext>
            </a:extLst>
          </p:cNvPr>
          <p:cNvSpPr/>
          <p:nvPr>
            <p:custDataLst>
              <p:tags r:id="rId20"/>
            </p:custDataLst>
          </p:nvPr>
        </p:nvSpPr>
        <p:spPr>
          <a:xfrm>
            <a:off x="368300" y="4747008"/>
            <a:ext cx="400110" cy="40011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76200" tIns="76200" rIns="76200" bIns="762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2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.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3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9635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503794-2E71-44B6-A052-F536B522B0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Domeinen</a:t>
            </a:r>
            <a:r>
              <a:rPr lang="en-US" dirty="0"/>
              <a:t> van </a:t>
            </a:r>
            <a:r>
              <a:rPr lang="en-US" dirty="0" err="1"/>
              <a:t>palliatieve</a:t>
            </a:r>
            <a:r>
              <a:rPr lang="en-US" dirty="0"/>
              <a:t> </a:t>
            </a:r>
            <a:r>
              <a:rPr lang="en-US" dirty="0" err="1"/>
              <a:t>zorg</a:t>
            </a:r>
            <a:endParaRPr lang="ru-RU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255F62B-3B43-4242-AE4B-03321AFC0B25}"/>
              </a:ext>
            </a:extLst>
          </p:cNvPr>
          <p:cNvGrpSpPr/>
          <p:nvPr/>
        </p:nvGrpSpPr>
        <p:grpSpPr>
          <a:xfrm>
            <a:off x="768618" y="1449388"/>
            <a:ext cx="5473186" cy="4705857"/>
            <a:chOff x="3359407" y="1449388"/>
            <a:chExt cx="5473186" cy="4705857"/>
          </a:xfrm>
        </p:grpSpPr>
        <p:pic>
          <p:nvPicPr>
            <p:cNvPr id="10" name="Graphic 9">
              <a:extLst>
                <a:ext uri="{FF2B5EF4-FFF2-40B4-BE49-F238E27FC236}">
                  <a16:creationId xmlns:a16="http://schemas.microsoft.com/office/drawing/2014/main" id="{5C195DCD-245F-4AE2-A352-62BCFD3A0F3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3902720" y="1449388"/>
              <a:ext cx="4386560" cy="4328842"/>
            </a:xfrm>
            <a:prstGeom prst="rect">
              <a:avLst/>
            </a:prstGeom>
          </p:spPr>
        </p:pic>
        <p:sp>
          <p:nvSpPr>
            <p:cNvPr id="11" name="TextBox 32">
              <a:extLst>
                <a:ext uri="{FF2B5EF4-FFF2-40B4-BE49-F238E27FC236}">
                  <a16:creationId xmlns:a16="http://schemas.microsoft.com/office/drawing/2014/main" id="{11553E5C-94AA-4682-B3AA-E279B716B477}"/>
                </a:ext>
              </a:extLst>
            </p:cNvPr>
            <p:cNvSpPr/>
            <p:nvPr/>
          </p:nvSpPr>
          <p:spPr>
            <a:xfrm>
              <a:off x="3359407" y="3000628"/>
              <a:ext cx="2146320" cy="33710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0" i="0" u="none" strike="noStrike" kern="1200" cap="none" spc="-1" normalizeH="0" baseline="0" noProof="0" dirty="0">
                  <a:ln>
                    <a:noFill/>
                  </a:ln>
                  <a:solidFill>
                    <a:srgbClr val="484240"/>
                  </a:solidFill>
                  <a:effectLst/>
                  <a:uLnTx/>
                  <a:uFillTx/>
                  <a:latin typeface="Lato"/>
                  <a:ea typeface="DejaVu Sans"/>
                  <a:cs typeface="+mn-cs"/>
                </a:rPr>
                <a:t>psychisch</a:t>
              </a:r>
              <a:endParaRPr kumimoji="0" lang="nl-NL" sz="160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TextBox 32">
              <a:extLst>
                <a:ext uri="{FF2B5EF4-FFF2-40B4-BE49-F238E27FC236}">
                  <a16:creationId xmlns:a16="http://schemas.microsoft.com/office/drawing/2014/main" id="{D04908DE-B8C8-4B93-84C8-AF35CA9B23F0}"/>
                </a:ext>
              </a:extLst>
            </p:cNvPr>
            <p:cNvSpPr/>
            <p:nvPr/>
          </p:nvSpPr>
          <p:spPr>
            <a:xfrm>
              <a:off x="6686273" y="3000628"/>
              <a:ext cx="2146320" cy="33710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0" i="0" u="none" strike="noStrike" kern="1200" cap="none" spc="-1" normalizeH="0" baseline="0" noProof="0" dirty="0">
                  <a:ln>
                    <a:noFill/>
                  </a:ln>
                  <a:solidFill>
                    <a:srgbClr val="484240"/>
                  </a:solidFill>
                  <a:effectLst/>
                  <a:uLnTx/>
                  <a:uFillTx/>
                  <a:latin typeface="Lato"/>
                  <a:ea typeface="DejaVu Sans"/>
                  <a:cs typeface="+mn-cs"/>
                </a:rPr>
                <a:t>sociaal</a:t>
              </a:r>
              <a:endParaRPr kumimoji="0" lang="nl-NL" sz="160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TextBox 32">
              <a:extLst>
                <a:ext uri="{FF2B5EF4-FFF2-40B4-BE49-F238E27FC236}">
                  <a16:creationId xmlns:a16="http://schemas.microsoft.com/office/drawing/2014/main" id="{D78C9A1D-4065-40D2-B737-7774196A9BE1}"/>
                </a:ext>
              </a:extLst>
            </p:cNvPr>
            <p:cNvSpPr/>
            <p:nvPr/>
          </p:nvSpPr>
          <p:spPr>
            <a:xfrm>
              <a:off x="5022840" y="5818145"/>
              <a:ext cx="2146320" cy="33710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0" i="0" u="none" strike="noStrike" kern="1200" cap="none" spc="-1" normalizeH="0" baseline="0" noProof="0" dirty="0">
                  <a:ln>
                    <a:noFill/>
                  </a:ln>
                  <a:solidFill>
                    <a:srgbClr val="484240"/>
                  </a:solidFill>
                  <a:effectLst/>
                  <a:uLnTx/>
                  <a:uFillTx/>
                  <a:latin typeface="Lato"/>
                  <a:ea typeface="DejaVu Sans"/>
                  <a:cs typeface="+mn-cs"/>
                </a:rPr>
                <a:t>lichamelijk</a:t>
              </a:r>
              <a:endParaRPr kumimoji="0" lang="nl-NL" sz="1600" b="0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4" name="TextBox 32">
              <a:extLst>
                <a:ext uri="{FF2B5EF4-FFF2-40B4-BE49-F238E27FC236}">
                  <a16:creationId xmlns:a16="http://schemas.microsoft.com/office/drawing/2014/main" id="{88BE03C2-7A86-4BA2-A631-F283B40040B8}"/>
                </a:ext>
              </a:extLst>
            </p:cNvPr>
            <p:cNvSpPr/>
            <p:nvPr/>
          </p:nvSpPr>
          <p:spPr>
            <a:xfrm>
              <a:off x="5022840" y="3963405"/>
              <a:ext cx="2146320" cy="337100"/>
            </a:xfrm>
            <a:prstGeom prst="rect">
              <a:avLst/>
            </a:prstGeom>
            <a:noFill/>
            <a:ln w="0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/>
          </p:style>
          <p:txBody>
            <a:bodyPr lIns="90000" tIns="45000" rIns="90000" bIns="4500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600" b="1" i="0" u="none" strike="noStrike" kern="1200" cap="none" spc="-1" normalizeH="0" baseline="0" noProof="0" dirty="0">
                  <a:ln>
                    <a:noFill/>
                  </a:ln>
                  <a:solidFill>
                    <a:srgbClr val="484240"/>
                  </a:solidFill>
                  <a:effectLst/>
                  <a:uLnTx/>
                  <a:uFillTx/>
                  <a:latin typeface="Lato"/>
                  <a:ea typeface="DejaVu Sans"/>
                  <a:cs typeface="+mn-cs"/>
                </a:rPr>
                <a:t>spiritueel</a:t>
              </a:r>
              <a:endParaRPr kumimoji="0" lang="nl-NL" sz="1600" b="1" i="0" u="none" strike="noStrike" kern="1200" cap="none" spc="-1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CBD5787-B414-4997-83D9-BB3CF3F3073B}"/>
              </a:ext>
            </a:extLst>
          </p:cNvPr>
          <p:cNvGrpSpPr/>
          <p:nvPr/>
        </p:nvGrpSpPr>
        <p:grpSpPr>
          <a:xfrm>
            <a:off x="6768547" y="2209032"/>
            <a:ext cx="4654836" cy="1082960"/>
            <a:chOff x="6768547" y="2209032"/>
            <a:chExt cx="4654836" cy="1082960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0FE525FE-E064-429E-BB9C-5D4811D38B9E}"/>
                </a:ext>
              </a:extLst>
            </p:cNvPr>
            <p:cNvSpPr txBox="1"/>
            <p:nvPr/>
          </p:nvSpPr>
          <p:spPr>
            <a:xfrm>
              <a:off x="7851507" y="2549912"/>
              <a:ext cx="3571876" cy="401200"/>
            </a:xfrm>
            <a:prstGeom prst="rect">
              <a:avLst/>
            </a:prstGeom>
            <a:noFill/>
          </p:spPr>
          <p:txBody>
            <a:bodyPr wrap="square" lIns="21600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B2B2B2"/>
                  </a:solidFill>
                  <a:effectLst/>
                  <a:uLnTx/>
                  <a:uFillTx/>
                  <a:latin typeface="Lato Regular "/>
                  <a:ea typeface="+mn-ea"/>
                  <a:cs typeface="+mn-cs"/>
                </a:rPr>
                <a:t>(Advance Care Planning)</a:t>
              </a:r>
              <a:endPara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 Regular "/>
                <a:ea typeface="+mn-ea"/>
                <a:cs typeface="+mn-cs"/>
              </a:endParaRPr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747673FD-9705-48C1-B83F-00FEF27C7CD0}"/>
                </a:ext>
              </a:extLst>
            </p:cNvPr>
            <p:cNvGrpSpPr/>
            <p:nvPr/>
          </p:nvGrpSpPr>
          <p:grpSpPr>
            <a:xfrm>
              <a:off x="6768547" y="2209032"/>
              <a:ext cx="1082960" cy="1082960"/>
              <a:chOff x="6265619" y="3938750"/>
              <a:chExt cx="1082960" cy="1082960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56774187-C62D-4FDF-BD21-9DD910AB0D4C}"/>
                  </a:ext>
                </a:extLst>
              </p:cNvPr>
              <p:cNvSpPr/>
              <p:nvPr/>
            </p:nvSpPr>
            <p:spPr>
              <a:xfrm>
                <a:off x="6265619" y="3938750"/>
                <a:ext cx="1082960" cy="1082960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endParaRPr>
              </a:p>
            </p:txBody>
          </p:sp>
          <p:pic>
            <p:nvPicPr>
              <p:cNvPr id="16" name="Graphic 15">
                <a:extLst>
                  <a:ext uri="{FF2B5EF4-FFF2-40B4-BE49-F238E27FC236}">
                    <a16:creationId xmlns:a16="http://schemas.microsoft.com/office/drawing/2014/main" id="{99154D30-222F-48E4-BC59-613BB5FC973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610415" y="4228230"/>
                <a:ext cx="393368" cy="504000"/>
              </a:xfrm>
              <a:prstGeom prst="rect">
                <a:avLst/>
              </a:prstGeom>
            </p:spPr>
          </p:pic>
        </p:grp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794FCE14-4D68-4342-9C5F-325B7EBF3CBF}"/>
              </a:ext>
            </a:extLst>
          </p:cNvPr>
          <p:cNvGrpSpPr/>
          <p:nvPr/>
        </p:nvGrpSpPr>
        <p:grpSpPr>
          <a:xfrm>
            <a:off x="6768547" y="3566008"/>
            <a:ext cx="4654836" cy="1082960"/>
            <a:chOff x="6768547" y="3566008"/>
            <a:chExt cx="4654836" cy="1082960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FBA33F5F-3C3D-49B0-9277-0E0BEB8E3DCD}"/>
                </a:ext>
              </a:extLst>
            </p:cNvPr>
            <p:cNvSpPr txBox="1"/>
            <p:nvPr/>
          </p:nvSpPr>
          <p:spPr>
            <a:xfrm>
              <a:off x="7851507" y="3906888"/>
              <a:ext cx="3571876" cy="401200"/>
            </a:xfrm>
            <a:prstGeom prst="rect">
              <a:avLst/>
            </a:prstGeom>
            <a:noFill/>
          </p:spPr>
          <p:txBody>
            <a:bodyPr wrap="square" lIns="21600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25000"/>
                </a:lnSpc>
                <a:spcBef>
                  <a:spcPts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l-NL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B2B2B2"/>
                  </a:solidFill>
                  <a:effectLst/>
                  <a:uLnTx/>
                  <a:uFillTx/>
                  <a:latin typeface="Lato Regular "/>
                  <a:ea typeface="+mn-ea"/>
                  <a:cs typeface="+mn-cs"/>
                </a:rPr>
                <a:t>(End-of-life Care)</a:t>
              </a:r>
              <a:endPara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 Regular "/>
                <a:ea typeface="+mn-ea"/>
                <a:cs typeface="+mn-cs"/>
              </a:endParaRP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262C68AB-DF0E-440C-B2F7-DFEF231188EC}"/>
                </a:ext>
              </a:extLst>
            </p:cNvPr>
            <p:cNvGrpSpPr/>
            <p:nvPr/>
          </p:nvGrpSpPr>
          <p:grpSpPr>
            <a:xfrm>
              <a:off x="6768547" y="3566008"/>
              <a:ext cx="1082960" cy="1082960"/>
              <a:chOff x="6768547" y="3566008"/>
              <a:chExt cx="1082960" cy="1082960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6C010B23-3DB0-4F53-B9D9-8E57A65BAE6F}"/>
                  </a:ext>
                </a:extLst>
              </p:cNvPr>
              <p:cNvSpPr/>
              <p:nvPr/>
            </p:nvSpPr>
            <p:spPr>
              <a:xfrm>
                <a:off x="6768547" y="3566008"/>
                <a:ext cx="1082960" cy="1082960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endParaRPr>
              </a:p>
            </p:txBody>
          </p:sp>
          <p:pic>
            <p:nvPicPr>
              <p:cNvPr id="25" name="Graphic 24">
                <a:extLst>
                  <a:ext uri="{FF2B5EF4-FFF2-40B4-BE49-F238E27FC236}">
                    <a16:creationId xmlns:a16="http://schemas.microsoft.com/office/drawing/2014/main" id="{E17F581D-6C5B-49E9-9387-4A369001050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7181535" y="3855488"/>
                <a:ext cx="346500" cy="504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2254870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EF0889-9422-4EED-AD7D-9547672EE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Kernpunten</a:t>
            </a:r>
            <a:r>
              <a:rPr lang="en-US" dirty="0"/>
              <a:t> concept </a:t>
            </a:r>
            <a:r>
              <a:rPr lang="en-US" dirty="0" err="1"/>
              <a:t>richtlijn</a:t>
            </a:r>
            <a:endParaRPr lang="ru-RU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714BC33-68F5-43CC-91CD-E16ACE19AD22}"/>
              </a:ext>
            </a:extLst>
          </p:cNvPr>
          <p:cNvSpPr txBox="1"/>
          <p:nvPr/>
        </p:nvSpPr>
        <p:spPr>
          <a:xfrm>
            <a:off x="4305299" y="2315290"/>
            <a:ext cx="4399029" cy="2893100"/>
          </a:xfrm>
          <a:prstGeom prst="rect">
            <a:avLst/>
          </a:prstGeom>
          <a:noFill/>
        </p:spPr>
        <p:txBody>
          <a:bodyPr wrap="square" numCol="1" spcCol="360000">
            <a:spAutoFit/>
          </a:bodyPr>
          <a:lstStyle/>
          <a:p>
            <a:pPr marL="6302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rgbClr val="769D94"/>
              </a:buClr>
              <a:buSzTx/>
              <a:buFontTx/>
              <a:buNone/>
              <a:tabLst/>
              <a:defRPr/>
            </a:pPr>
            <a:r>
              <a:rPr kumimoji="0" lang="nl-NL" sz="18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Meer</a:t>
            </a: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nadruk op proportionaliteit van de sedatie</a:t>
            </a:r>
          </a:p>
          <a:p>
            <a:pPr marL="6302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rgbClr val="769D94"/>
              </a:buClr>
              <a:buSzTx/>
              <a:buFontTx/>
              <a:buNone/>
              <a:tabLst/>
              <a:defRPr/>
            </a:pPr>
            <a:r>
              <a:rPr kumimoji="0" lang="nl-NL" sz="18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Meer</a:t>
            </a: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nadruk op multidisciplinaire besluitvorming</a:t>
            </a:r>
          </a:p>
          <a:p>
            <a:pPr marL="6302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rgbClr val="769D94"/>
              </a:buClr>
              <a:buSzTx/>
              <a:buFontTx/>
              <a:buNone/>
              <a:tabLst/>
              <a:defRPr/>
            </a:pPr>
            <a:r>
              <a:rPr kumimoji="0" lang="nl-NL" sz="18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Meer</a:t>
            </a: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aandacht voor </a:t>
            </a:r>
            <a:br>
              <a: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existentiëel </a:t>
            </a: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lijden</a:t>
            </a:r>
          </a:p>
          <a:p>
            <a:pPr marL="630238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Clr>
                <a:srgbClr val="769D94"/>
              </a:buClr>
              <a:buSzTx/>
              <a:buFontTx/>
              <a:buNone/>
              <a:tabLst/>
              <a:defRPr/>
            </a:pPr>
            <a: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Medicatie schema is aangepast</a:t>
            </a:r>
            <a:br>
              <a:rPr kumimoji="0" lang="nl-NL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6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Meer</a:t>
            </a: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 ruimte voor levomepromazine</a:t>
            </a: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9D0B5526-D45D-48CC-8769-BE295D7B5792}"/>
              </a:ext>
            </a:extLst>
          </p:cNvPr>
          <p:cNvSpPr/>
          <p:nvPr/>
        </p:nvSpPr>
        <p:spPr>
          <a:xfrm>
            <a:off x="4305298" y="2365057"/>
            <a:ext cx="536340" cy="53634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4A92A935-3125-4FBC-B8E5-830F5FFF7B25}"/>
              </a:ext>
            </a:extLst>
          </p:cNvPr>
          <p:cNvSpPr/>
          <p:nvPr/>
        </p:nvSpPr>
        <p:spPr>
          <a:xfrm>
            <a:off x="4305298" y="3106027"/>
            <a:ext cx="536340" cy="53634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E620A983-F2F6-4FBE-949B-9F0CD6360D64}"/>
              </a:ext>
            </a:extLst>
          </p:cNvPr>
          <p:cNvSpPr/>
          <p:nvPr/>
        </p:nvSpPr>
        <p:spPr>
          <a:xfrm>
            <a:off x="4305298" y="4587967"/>
            <a:ext cx="536340" cy="53634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id="{05B316A5-70EE-4CDA-B75C-7E2D842EC126}"/>
              </a:ext>
            </a:extLst>
          </p:cNvPr>
          <p:cNvSpPr/>
          <p:nvPr/>
        </p:nvSpPr>
        <p:spPr>
          <a:xfrm>
            <a:off x="4305298" y="3846997"/>
            <a:ext cx="536340" cy="53634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8052019E-0429-4E21-8383-402483B327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20468" y="3962167"/>
            <a:ext cx="306000" cy="3060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F404A11C-E634-47A9-BCA2-17888E11B40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424576" y="4703137"/>
            <a:ext cx="297785" cy="30600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C6D3EC0-DE27-49B7-A867-2C61D5CBE3F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20468" y="2524562"/>
            <a:ext cx="306000" cy="21733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3E7580FB-16B8-4DDA-8EC9-4118A8EDEAD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411468" y="3276629"/>
            <a:ext cx="324000" cy="195136"/>
          </a:xfrm>
          <a:prstGeom prst="rect">
            <a:avLst/>
          </a:prstGeom>
        </p:spPr>
      </p:pic>
      <p:pic>
        <p:nvPicPr>
          <p:cNvPr id="23" name="Picture Placeholder 4">
            <a:extLst>
              <a:ext uri="{FF2B5EF4-FFF2-40B4-BE49-F238E27FC236}">
                <a16:creationId xmlns:a16="http://schemas.microsoft.com/office/drawing/2014/main" id="{79CCD004-A2A3-4256-89D2-B456D6678A69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348" b="-52"/>
          <a:stretch/>
        </p:blipFill>
        <p:spPr>
          <a:xfrm>
            <a:off x="372150" y="1449338"/>
            <a:ext cx="3571200" cy="46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30587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EF0889-9422-4EED-AD7D-9547672EE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Kernpunten</a:t>
            </a:r>
            <a:endParaRPr lang="ru-RU" dirty="0">
              <a:solidFill>
                <a:schemeClr val="accent1">
                  <a:lumMod val="40000"/>
                  <a:lumOff val="60000"/>
                </a:schemeClr>
              </a:solidFill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DCA297A1-14C3-4C0C-877F-A4074CACA95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1475" y="1449388"/>
            <a:ext cx="3571200" cy="4680000"/>
          </a:xfrm>
          <a:prstGeom prst="rect">
            <a:avLst/>
          </a:prstGeom>
        </p:spPr>
      </p:pic>
      <p:pic>
        <p:nvPicPr>
          <p:cNvPr id="12" name="Picture Placeholder 4">
            <a:extLst>
              <a:ext uri="{FF2B5EF4-FFF2-40B4-BE49-F238E27FC236}">
                <a16:creationId xmlns:a16="http://schemas.microsoft.com/office/drawing/2014/main" id="{7070C57B-455D-4F18-AD43-ED567CDC607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564" r="24564"/>
          <a:stretch>
            <a:fillRect/>
          </a:stretch>
        </p:blipFill>
        <p:spPr>
          <a:xfrm>
            <a:off x="372150" y="1449338"/>
            <a:ext cx="3571200" cy="4680000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509850E4-EBE6-480D-84AD-13149FD2346A}"/>
              </a:ext>
            </a:extLst>
          </p:cNvPr>
          <p:cNvSpPr txBox="1"/>
          <p:nvPr/>
        </p:nvSpPr>
        <p:spPr>
          <a:xfrm>
            <a:off x="4314695" y="2178000"/>
            <a:ext cx="3571200" cy="553998"/>
          </a:xfrm>
          <a:prstGeom prst="rect">
            <a:avLst/>
          </a:prstGeom>
          <a:noFill/>
        </p:spPr>
        <p:txBody>
          <a:bodyPr wrap="square" lIns="0" tIns="0" rIns="0" bIns="0" numCol="1" spcCol="360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Naasten zijn over </a:t>
            </a: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het algemeen </a:t>
            </a:r>
            <a:b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(erg) tevreden</a:t>
            </a:r>
            <a:endParaRPr kumimoji="0" lang="nl-NL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01B02A80-CBD1-49CB-BEDA-F68029B78B7B}"/>
              </a:ext>
            </a:extLst>
          </p:cNvPr>
          <p:cNvSpPr/>
          <p:nvPr/>
        </p:nvSpPr>
        <p:spPr>
          <a:xfrm>
            <a:off x="4314695" y="1458425"/>
            <a:ext cx="536340" cy="53634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76BD95AB-6AC3-44B3-9E54-BAC19CD88ACE}"/>
              </a:ext>
            </a:extLst>
          </p:cNvPr>
          <p:cNvSpPr/>
          <p:nvPr/>
        </p:nvSpPr>
        <p:spPr>
          <a:xfrm>
            <a:off x="8249325" y="1458425"/>
            <a:ext cx="536340" cy="53634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4EBB7D9F-A4F4-4264-B1CA-E2C03BF5498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364495" y="1597203"/>
            <a:ext cx="306000" cy="258785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44C8A70E-58F4-4B54-88F9-DC980DE5EC7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429865" y="1593318"/>
            <a:ext cx="306000" cy="266555"/>
          </a:xfrm>
          <a:prstGeom prst="rect">
            <a:avLst/>
          </a:prstGeom>
        </p:spPr>
      </p:pic>
      <p:sp>
        <p:nvSpPr>
          <p:cNvPr id="3" name="TextBox 18">
            <a:extLst>
              <a:ext uri="{FF2B5EF4-FFF2-40B4-BE49-F238E27FC236}">
                <a16:creationId xmlns:a16="http://schemas.microsoft.com/office/drawing/2014/main" id="{23353CDB-E610-BB1E-6624-1D0335B88DEB}"/>
              </a:ext>
            </a:extLst>
          </p:cNvPr>
          <p:cNvSpPr txBox="1"/>
          <p:nvPr/>
        </p:nvSpPr>
        <p:spPr>
          <a:xfrm>
            <a:off x="8249325" y="2178000"/>
            <a:ext cx="3571200" cy="2416046"/>
          </a:xfrm>
          <a:prstGeom prst="rect">
            <a:avLst/>
          </a:prstGeom>
          <a:noFill/>
        </p:spPr>
        <p:txBody>
          <a:bodyPr wrap="square" lIns="0" tIns="0" rIns="0" bIns="0" numCol="1" spcCol="36000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Als er ontevredenheid </a:t>
            </a:r>
            <a:b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</a:br>
            <a:r>
              <a:rPr kumimoji="0" lang="nl-NL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is dan vooral omdat: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edatie te lang duurt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Patiënt weer wakker werd (en naasten niet wisten dat dat kon)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Te weinig aandacht voor naasten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FFFF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l-NL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Slechte communicatie zorgverleners onderling en met naasten</a:t>
            </a:r>
          </a:p>
        </p:txBody>
      </p:sp>
    </p:spTree>
    <p:extLst>
      <p:ext uri="{BB962C8B-B14F-4D97-AF65-F5344CB8AC3E}">
        <p14:creationId xmlns:p14="http://schemas.microsoft.com/office/powerpoint/2010/main" val="768442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9" name="Afbeelding 8" descr="Afbeelding met tekst, handschrift, Lettertype, schermopname&#10;&#10;Automatisch gegenereerde beschrijving">
            <a:extLst>
              <a:ext uri="{FF2B5EF4-FFF2-40B4-BE49-F238E27FC236}">
                <a16:creationId xmlns:a16="http://schemas.microsoft.com/office/drawing/2014/main" id="{E5CF146F-83B1-992E-58B3-E7FAFFDD081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47" r="4046" b="-1"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  <p:pic>
        <p:nvPicPr>
          <p:cNvPr id="11" name="Afbeelding 10" descr="Afbeelding met tekst, schermopname, patroon&#10;&#10;Automatisch gegenereerde beschrijving">
            <a:extLst>
              <a:ext uri="{FF2B5EF4-FFF2-40B4-BE49-F238E27FC236}">
                <a16:creationId xmlns:a16="http://schemas.microsoft.com/office/drawing/2014/main" id="{A06220E6-862D-60B6-8AAF-D4BEB787D1C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04" t="36888" r="26149" b="14519"/>
          <a:stretch/>
        </p:blipFill>
        <p:spPr>
          <a:xfrm>
            <a:off x="4899660" y="2462034"/>
            <a:ext cx="2392680" cy="2414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3101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B00BCE-8E3F-4C34-9A4A-BF194F1FB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Korte periode van plotselinge en snelle achteruitgang</a:t>
            </a:r>
            <a:br>
              <a:rPr lang="nl-NL" dirty="0"/>
            </a:br>
            <a:r>
              <a:rPr lang="nl-NL" dirty="0">
                <a:solidFill>
                  <a:schemeClr val="accent6"/>
                </a:solidFill>
                <a:latin typeface="EB Garamond" panose="00000500000000000000" pitchFamily="2" charset="0"/>
                <a:ea typeface="EB Garamond" panose="00000500000000000000" pitchFamily="2" charset="0"/>
              </a:rPr>
              <a:t>Specifiek voor het beloop van kanker</a:t>
            </a:r>
            <a:endParaRPr lang="ru-RU" dirty="0">
              <a:solidFill>
                <a:schemeClr val="accent6"/>
              </a:solidFill>
              <a:latin typeface="EB Garamond" panose="00000500000000000000" pitchFamily="2" charset="0"/>
              <a:ea typeface="EB Garamond" panose="00000500000000000000" pitchFamily="2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FB2416D-9C33-4910-AD61-8605207570CB}"/>
              </a:ext>
            </a:extLst>
          </p:cNvPr>
          <p:cNvSpPr/>
          <p:nvPr/>
        </p:nvSpPr>
        <p:spPr>
          <a:xfrm>
            <a:off x="370751" y="1449388"/>
            <a:ext cx="3575775" cy="4679949"/>
          </a:xfrm>
          <a:prstGeom prst="rect">
            <a:avLst/>
          </a:prstGeom>
          <a:solidFill>
            <a:srgbClr val="EEE8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8" name="Rectangle: Diagonal Corners Rounded 7">
            <a:extLst>
              <a:ext uri="{FF2B5EF4-FFF2-40B4-BE49-F238E27FC236}">
                <a16:creationId xmlns:a16="http://schemas.microsoft.com/office/drawing/2014/main" id="{7AAEDF7A-5DB8-4658-A063-EACC689A6D74}"/>
              </a:ext>
            </a:extLst>
          </p:cNvPr>
          <p:cNvSpPr/>
          <p:nvPr/>
        </p:nvSpPr>
        <p:spPr>
          <a:xfrm>
            <a:off x="8254999" y="5173449"/>
            <a:ext cx="3575050" cy="962637"/>
          </a:xfrm>
          <a:prstGeom prst="round2DiagRect">
            <a:avLst>
              <a:gd name="adj1" fmla="val 22645"/>
              <a:gd name="adj2" fmla="val 0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5F4C480-3076-4EFB-9410-F04AE4892D4A}"/>
              </a:ext>
            </a:extLst>
          </p:cNvPr>
          <p:cNvSpPr txBox="1"/>
          <p:nvPr/>
        </p:nvSpPr>
        <p:spPr>
          <a:xfrm>
            <a:off x="8481690" y="5285435"/>
            <a:ext cx="3121666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"/>
                <a:ea typeface="+mn-ea"/>
                <a:cs typeface="+mn-cs"/>
              </a:rPr>
              <a:t>Vaak </a:t>
            </a: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"/>
                <a:ea typeface="+mn-ea"/>
                <a:cs typeface="+mn-cs"/>
              </a:rPr>
              <a:t>enkele jaren</a:t>
            </a: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"/>
                <a:ea typeface="+mn-ea"/>
                <a:cs typeface="+mn-cs"/>
              </a:rPr>
              <a:t>, maar achteruitgang meestal in een </a:t>
            </a:r>
            <a:b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"/>
                <a:ea typeface="+mn-ea"/>
                <a:cs typeface="+mn-cs"/>
              </a:rPr>
            </a:b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"/>
                <a:ea typeface="+mn-ea"/>
                <a:cs typeface="+mn-cs"/>
              </a:rPr>
              <a:t>periode van </a:t>
            </a: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"/>
                <a:ea typeface="+mn-ea"/>
                <a:cs typeface="+mn-cs"/>
              </a:rPr>
              <a:t>enkele maanden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C2B3F8F0-ADB3-4EB7-87F0-A14B9BD3D0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794557" y="2173287"/>
            <a:ext cx="7035492" cy="1817502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EDB56355-4D76-4E18-A778-562B5632B96E}"/>
              </a:ext>
            </a:extLst>
          </p:cNvPr>
          <p:cNvGrpSpPr/>
          <p:nvPr/>
        </p:nvGrpSpPr>
        <p:grpSpPr>
          <a:xfrm>
            <a:off x="10045288" y="2399621"/>
            <a:ext cx="334544" cy="334543"/>
            <a:chOff x="4291609" y="3254132"/>
            <a:chExt cx="334544" cy="334543"/>
          </a:xfrm>
        </p:grpSpPr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FFDBEE70-6A79-4ED5-BE45-5A8459838CD3}"/>
                </a:ext>
              </a:extLst>
            </p:cNvPr>
            <p:cNvSpPr/>
            <p:nvPr/>
          </p:nvSpPr>
          <p:spPr>
            <a:xfrm>
              <a:off x="4291609" y="3254132"/>
              <a:ext cx="334544" cy="334543"/>
            </a:xfrm>
            <a:prstGeom prst="ellipse">
              <a:avLst/>
            </a:prstGeom>
            <a:solidFill>
              <a:schemeClr val="accent3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14" name="Oval 13">
              <a:extLst>
                <a:ext uri="{FF2B5EF4-FFF2-40B4-BE49-F238E27FC236}">
                  <a16:creationId xmlns:a16="http://schemas.microsoft.com/office/drawing/2014/main" id="{C9D7C87B-4651-43B5-AD8E-A9A84FA7C076}"/>
                </a:ext>
              </a:extLst>
            </p:cNvPr>
            <p:cNvSpPr/>
            <p:nvPr/>
          </p:nvSpPr>
          <p:spPr>
            <a:xfrm>
              <a:off x="4373247" y="3335770"/>
              <a:ext cx="171268" cy="17126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88F63AFC-3F9B-48CC-BD0A-EAB8DC1984FE}"/>
              </a:ext>
            </a:extLst>
          </p:cNvPr>
          <p:cNvSpPr txBox="1"/>
          <p:nvPr/>
        </p:nvSpPr>
        <p:spPr>
          <a:xfrm>
            <a:off x="10379833" y="2336060"/>
            <a:ext cx="175321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/>
                <a:ea typeface="+mn-ea"/>
                <a:cs typeface="+mn-cs"/>
              </a:rPr>
              <a:t>Gespecialiseerd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/>
                <a:ea typeface="+mn-ea"/>
                <a:cs typeface="+mn-cs"/>
              </a:rPr>
              <a:t>palliatieve zorg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A2FEF58-FE8B-41C5-8BD0-24479193F981}"/>
              </a:ext>
            </a:extLst>
          </p:cNvPr>
          <p:cNvSpPr txBox="1"/>
          <p:nvPr/>
        </p:nvSpPr>
        <p:spPr>
          <a:xfrm>
            <a:off x="10438786" y="4025012"/>
            <a:ext cx="175321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/>
                <a:ea typeface="+mn-ea"/>
                <a:cs typeface="+mn-cs"/>
              </a:rPr>
              <a:t>Overlijden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9046F41-CE08-4C3F-9802-F4402FE31A1E}"/>
              </a:ext>
            </a:extLst>
          </p:cNvPr>
          <p:cNvGrpSpPr/>
          <p:nvPr/>
        </p:nvGrpSpPr>
        <p:grpSpPr>
          <a:xfrm>
            <a:off x="11154009" y="3692689"/>
            <a:ext cx="334544" cy="334543"/>
            <a:chOff x="4291609" y="3254132"/>
            <a:chExt cx="334544" cy="334543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ED362267-5A7B-4432-B0BD-60BB3E9A0323}"/>
                </a:ext>
              </a:extLst>
            </p:cNvPr>
            <p:cNvSpPr/>
            <p:nvPr/>
          </p:nvSpPr>
          <p:spPr>
            <a:xfrm>
              <a:off x="4291609" y="3254132"/>
              <a:ext cx="334544" cy="334543"/>
            </a:xfrm>
            <a:prstGeom prst="ellipse">
              <a:avLst/>
            </a:prstGeom>
            <a:solidFill>
              <a:schemeClr val="accent3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C9258894-9252-4948-8E5A-904BA1D26F51}"/>
                </a:ext>
              </a:extLst>
            </p:cNvPr>
            <p:cNvSpPr/>
            <p:nvPr/>
          </p:nvSpPr>
          <p:spPr>
            <a:xfrm>
              <a:off x="4373247" y="3335770"/>
              <a:ext cx="171268" cy="17126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</p:grpSp>
      <p:sp>
        <p:nvSpPr>
          <p:cNvPr id="20" name="Tekstvak 16">
            <a:extLst>
              <a:ext uri="{FF2B5EF4-FFF2-40B4-BE49-F238E27FC236}">
                <a16:creationId xmlns:a16="http://schemas.microsoft.com/office/drawing/2014/main" id="{9B6224A3-CC84-4A0D-834B-3237FAAB3FD3}"/>
              </a:ext>
            </a:extLst>
          </p:cNvPr>
          <p:cNvSpPr txBox="1"/>
          <p:nvPr/>
        </p:nvSpPr>
        <p:spPr>
          <a:xfrm>
            <a:off x="4318001" y="2041071"/>
            <a:ext cx="476555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nl-NL"/>
            </a:defPPr>
            <a:lvl1pPr>
              <a:defRPr sz="1400" b="1">
                <a:solidFill>
                  <a:srgbClr val="484240"/>
                </a:solidFill>
                <a:latin typeface="Lato Regular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"/>
                <a:ea typeface="+mn-ea"/>
                <a:cs typeface="+mn-cs"/>
              </a:rPr>
              <a:t>Hoog</a:t>
            </a:r>
          </a:p>
        </p:txBody>
      </p:sp>
      <p:sp>
        <p:nvSpPr>
          <p:cNvPr id="21" name="Tekstvak 16">
            <a:extLst>
              <a:ext uri="{FF2B5EF4-FFF2-40B4-BE49-F238E27FC236}">
                <a16:creationId xmlns:a16="http://schemas.microsoft.com/office/drawing/2014/main" id="{E1CAD093-0B66-4A02-AB71-0D10E7FBDE6F}"/>
              </a:ext>
            </a:extLst>
          </p:cNvPr>
          <p:cNvSpPr txBox="1"/>
          <p:nvPr/>
        </p:nvSpPr>
        <p:spPr>
          <a:xfrm>
            <a:off x="4318002" y="3824114"/>
            <a:ext cx="47655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nl-NL"/>
            </a:defPPr>
            <a:lvl1pPr>
              <a:defRPr sz="1400" b="1">
                <a:solidFill>
                  <a:srgbClr val="484240"/>
                </a:solidFill>
                <a:latin typeface="Lato Regular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"/>
                <a:ea typeface="+mn-ea"/>
                <a:cs typeface="+mn-cs"/>
              </a:rPr>
              <a:t>Laag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639C8A1-91CF-469D-8C8E-656AE7F7B3A5}"/>
              </a:ext>
            </a:extLst>
          </p:cNvPr>
          <p:cNvGrpSpPr/>
          <p:nvPr/>
        </p:nvGrpSpPr>
        <p:grpSpPr>
          <a:xfrm>
            <a:off x="4317276" y="4539931"/>
            <a:ext cx="7512774" cy="296646"/>
            <a:chOff x="1693318" y="4502949"/>
            <a:chExt cx="8805363" cy="296646"/>
          </a:xfrm>
        </p:grpSpPr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A17EF897-C389-49F9-A32B-516E0A72D486}"/>
                </a:ext>
              </a:extLst>
            </p:cNvPr>
            <p:cNvCxnSpPr/>
            <p:nvPr/>
          </p:nvCxnSpPr>
          <p:spPr>
            <a:xfrm>
              <a:off x="1693318" y="4502949"/>
              <a:ext cx="8805363" cy="0"/>
            </a:xfrm>
            <a:prstGeom prst="straightConnector1">
              <a:avLst/>
            </a:prstGeom>
            <a:ln w="12700">
              <a:solidFill>
                <a:schemeClr val="accent5"/>
              </a:solidFill>
              <a:tailEnd type="arrow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42D68DB-836B-4DA3-83EF-0D9EA1044066}"/>
                </a:ext>
              </a:extLst>
            </p:cNvPr>
            <p:cNvSpPr txBox="1"/>
            <p:nvPr/>
          </p:nvSpPr>
          <p:spPr>
            <a:xfrm>
              <a:off x="9962341" y="4522596"/>
              <a:ext cx="536340" cy="276999"/>
            </a:xfrm>
            <a:prstGeom prst="rect">
              <a:avLst/>
            </a:prstGeom>
            <a:noFill/>
          </p:spPr>
          <p:txBody>
            <a:bodyPr wrap="square" lIns="0" rIns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B2B2B2">
                      <a:lumMod val="75000"/>
                    </a:srgbClr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tijd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B2B2B2">
                    <a:lumMod val="75000"/>
                  </a:srgbClr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</p:grpSp>
      <p:pic>
        <p:nvPicPr>
          <p:cNvPr id="27" name="Picture 26">
            <a:extLst>
              <a:ext uri="{FF2B5EF4-FFF2-40B4-BE49-F238E27FC236}">
                <a16:creationId xmlns:a16="http://schemas.microsoft.com/office/drawing/2014/main" id="{D8E172AD-7EFD-4DBF-A404-F2BCAE54778D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776" b="54068"/>
          <a:stretch/>
        </p:blipFill>
        <p:spPr>
          <a:xfrm>
            <a:off x="631023" y="2041071"/>
            <a:ext cx="3315504" cy="4095016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379BA707-8546-4A0E-8CEC-B743B1586885}"/>
              </a:ext>
            </a:extLst>
          </p:cNvPr>
          <p:cNvSpPr txBox="1"/>
          <p:nvPr/>
        </p:nvSpPr>
        <p:spPr>
          <a:xfrm>
            <a:off x="371475" y="6209944"/>
            <a:ext cx="3571875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800" b="0" i="1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Murray, 2005</a:t>
            </a:r>
          </a:p>
        </p:txBody>
      </p:sp>
    </p:spTree>
    <p:extLst>
      <p:ext uri="{BB962C8B-B14F-4D97-AF65-F5344CB8AC3E}">
        <p14:creationId xmlns:p14="http://schemas.microsoft.com/office/powerpoint/2010/main" val="1058573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: Diagonal Corners Rounded 32">
            <a:extLst>
              <a:ext uri="{FF2B5EF4-FFF2-40B4-BE49-F238E27FC236}">
                <a16:creationId xmlns:a16="http://schemas.microsoft.com/office/drawing/2014/main" id="{7E7258CA-5492-4579-BDAF-40BD053B6E0A}"/>
              </a:ext>
            </a:extLst>
          </p:cNvPr>
          <p:cNvSpPr/>
          <p:nvPr/>
        </p:nvSpPr>
        <p:spPr>
          <a:xfrm>
            <a:off x="8254999" y="5173449"/>
            <a:ext cx="3575050" cy="962637"/>
          </a:xfrm>
          <a:prstGeom prst="round2DiagRect">
            <a:avLst>
              <a:gd name="adj1" fmla="val 22645"/>
              <a:gd name="adj2" fmla="val 0"/>
            </a:avLst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12CCD411-E875-43E7-B1EA-A42668D11B6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794557" y="2212997"/>
            <a:ext cx="7035492" cy="17823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8B00BCE-8E3F-4C34-9A4A-BF194F1FB1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Geleidelijke</a:t>
            </a:r>
            <a:r>
              <a:rPr lang="en-US" dirty="0"/>
              <a:t> </a:t>
            </a:r>
            <a:r>
              <a:rPr lang="en-US" dirty="0" err="1"/>
              <a:t>achteruitgang</a:t>
            </a:r>
            <a:r>
              <a:rPr lang="en-US" dirty="0"/>
              <a:t> met dips</a:t>
            </a:r>
            <a:br>
              <a:rPr lang="en-US" dirty="0"/>
            </a:br>
            <a:r>
              <a:rPr lang="nl-NL" dirty="0">
                <a:solidFill>
                  <a:schemeClr val="accent6"/>
                </a:solidFill>
                <a:latin typeface="EB Garamond" panose="00000500000000000000" pitchFamily="2" charset="0"/>
                <a:ea typeface="EB Garamond" panose="00000500000000000000" pitchFamily="2" charset="0"/>
              </a:rPr>
              <a:t>Vaak bij hartfalen en COPD</a:t>
            </a:r>
            <a:br>
              <a:rPr lang="nl-NL" dirty="0">
                <a:solidFill>
                  <a:schemeClr val="accent6"/>
                </a:solidFill>
                <a:latin typeface="EB Garamond" panose="00000500000000000000" pitchFamily="2" charset="0"/>
                <a:ea typeface="EB Garamond" panose="00000500000000000000" pitchFamily="2" charset="0"/>
              </a:rPr>
            </a:br>
            <a:endParaRPr lang="en-US" dirty="0">
              <a:solidFill>
                <a:schemeClr val="accent6"/>
              </a:solidFill>
              <a:latin typeface="EB Garamond" panose="00000500000000000000" pitchFamily="2" charset="0"/>
              <a:ea typeface="EB Garamond" panose="00000500000000000000" pitchFamily="2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FB2416D-9C33-4910-AD61-8605207570CB}"/>
              </a:ext>
            </a:extLst>
          </p:cNvPr>
          <p:cNvSpPr/>
          <p:nvPr/>
        </p:nvSpPr>
        <p:spPr>
          <a:xfrm>
            <a:off x="370751" y="1449388"/>
            <a:ext cx="3575775" cy="4679949"/>
          </a:xfrm>
          <a:prstGeom prst="rect">
            <a:avLst/>
          </a:prstGeom>
          <a:solidFill>
            <a:srgbClr val="EEE8E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5F4C480-3076-4EFB-9410-F04AE4892D4A}"/>
              </a:ext>
            </a:extLst>
          </p:cNvPr>
          <p:cNvSpPr txBox="1"/>
          <p:nvPr/>
        </p:nvSpPr>
        <p:spPr>
          <a:xfrm>
            <a:off x="8481688" y="5393157"/>
            <a:ext cx="312166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"/>
                <a:ea typeface="+mn-ea"/>
                <a:cs typeface="+mn-cs"/>
              </a:rPr>
              <a:t>2-5 jaar</a:t>
            </a: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"/>
                <a:ea typeface="+mn-ea"/>
                <a:cs typeface="+mn-cs"/>
              </a:rPr>
              <a:t>, maar overlijden </a:t>
            </a:r>
            <a:b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"/>
                <a:ea typeface="+mn-ea"/>
                <a:cs typeface="+mn-cs"/>
              </a:rPr>
            </a:b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"/>
                <a:ea typeface="+mn-ea"/>
                <a:cs typeface="+mn-cs"/>
              </a:rPr>
              <a:t>is </a:t>
            </a:r>
            <a:r>
              <a:rPr kumimoji="0" lang="nl-NL" sz="1400" b="1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"/>
                <a:ea typeface="+mn-ea"/>
                <a:cs typeface="+mn-cs"/>
              </a:rPr>
              <a:t>meestal</a:t>
            </a:r>
            <a:r>
              <a:rPr kumimoji="0" lang="nl-NL" sz="14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"/>
                <a:ea typeface="+mn-ea"/>
                <a:cs typeface="+mn-cs"/>
              </a:rPr>
              <a:t> plotseling</a:t>
            </a:r>
            <a:endParaRPr kumimoji="0" lang="nl-NL" sz="1400" b="1" i="0" u="none" strike="noStrike" kern="1200" cap="none" spc="0" normalizeH="0" baseline="0" noProof="0" dirty="0">
              <a:ln>
                <a:noFill/>
              </a:ln>
              <a:solidFill>
                <a:srgbClr val="484240"/>
              </a:solidFill>
              <a:effectLst/>
              <a:uLnTx/>
              <a:uFillTx/>
              <a:latin typeface="Lato Regular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A2FEF58-FE8B-41C5-8BD0-24479193F981}"/>
              </a:ext>
            </a:extLst>
          </p:cNvPr>
          <p:cNvSpPr txBox="1"/>
          <p:nvPr/>
        </p:nvSpPr>
        <p:spPr>
          <a:xfrm>
            <a:off x="10891321" y="4025012"/>
            <a:ext cx="96224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/>
                <a:ea typeface="+mn-ea"/>
                <a:cs typeface="+mn-cs"/>
              </a:rPr>
              <a:t>Overlijden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9046F41-CE08-4C3F-9802-F4402FE31A1E}"/>
              </a:ext>
            </a:extLst>
          </p:cNvPr>
          <p:cNvGrpSpPr/>
          <p:nvPr/>
        </p:nvGrpSpPr>
        <p:grpSpPr>
          <a:xfrm>
            <a:off x="11205170" y="3692689"/>
            <a:ext cx="334544" cy="334543"/>
            <a:chOff x="4291609" y="3254132"/>
            <a:chExt cx="334544" cy="334543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ED362267-5A7B-4432-B0BD-60BB3E9A0323}"/>
                </a:ext>
              </a:extLst>
            </p:cNvPr>
            <p:cNvSpPr/>
            <p:nvPr/>
          </p:nvSpPr>
          <p:spPr>
            <a:xfrm>
              <a:off x="4291609" y="3254132"/>
              <a:ext cx="334544" cy="334543"/>
            </a:xfrm>
            <a:prstGeom prst="ellipse">
              <a:avLst/>
            </a:prstGeom>
            <a:solidFill>
              <a:schemeClr val="accent3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C9258894-9252-4948-8E5A-904BA1D26F51}"/>
                </a:ext>
              </a:extLst>
            </p:cNvPr>
            <p:cNvSpPr/>
            <p:nvPr/>
          </p:nvSpPr>
          <p:spPr>
            <a:xfrm>
              <a:off x="4373247" y="3335770"/>
              <a:ext cx="171268" cy="17126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</p:grpSp>
      <p:sp>
        <p:nvSpPr>
          <p:cNvPr id="20" name="Tekstvak 16">
            <a:extLst>
              <a:ext uri="{FF2B5EF4-FFF2-40B4-BE49-F238E27FC236}">
                <a16:creationId xmlns:a16="http://schemas.microsoft.com/office/drawing/2014/main" id="{9B6224A3-CC84-4A0D-834B-3237FAAB3FD3}"/>
              </a:ext>
            </a:extLst>
          </p:cNvPr>
          <p:cNvSpPr txBox="1"/>
          <p:nvPr/>
        </p:nvSpPr>
        <p:spPr>
          <a:xfrm>
            <a:off x="4318001" y="2041071"/>
            <a:ext cx="476555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nl-NL"/>
            </a:defPPr>
            <a:lvl1pPr>
              <a:defRPr sz="1400" b="1">
                <a:solidFill>
                  <a:srgbClr val="484240"/>
                </a:solidFill>
                <a:latin typeface="Lato Regular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"/>
                <a:ea typeface="+mn-ea"/>
                <a:cs typeface="+mn-cs"/>
              </a:rPr>
              <a:t>Hoog</a:t>
            </a:r>
          </a:p>
        </p:txBody>
      </p:sp>
      <p:sp>
        <p:nvSpPr>
          <p:cNvPr id="21" name="Tekstvak 16">
            <a:extLst>
              <a:ext uri="{FF2B5EF4-FFF2-40B4-BE49-F238E27FC236}">
                <a16:creationId xmlns:a16="http://schemas.microsoft.com/office/drawing/2014/main" id="{E1CAD093-0B66-4A02-AB71-0D10E7FBDE6F}"/>
              </a:ext>
            </a:extLst>
          </p:cNvPr>
          <p:cNvSpPr txBox="1"/>
          <p:nvPr/>
        </p:nvSpPr>
        <p:spPr>
          <a:xfrm>
            <a:off x="4318002" y="3824114"/>
            <a:ext cx="476556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>
            <a:defPPr>
              <a:defRPr lang="nl-NL"/>
            </a:defPPr>
            <a:lvl1pPr>
              <a:defRPr sz="1400" b="1">
                <a:solidFill>
                  <a:srgbClr val="484240"/>
                </a:solidFill>
                <a:latin typeface="Lato Regular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srgbClr val="484240"/>
                </a:solidFill>
                <a:effectLst/>
                <a:uLnTx/>
                <a:uFillTx/>
                <a:latin typeface="Lato Regular"/>
                <a:ea typeface="+mn-ea"/>
                <a:cs typeface="+mn-cs"/>
              </a:rPr>
              <a:t>Laag</a:t>
            </a: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639C8A1-91CF-469D-8C8E-656AE7F7B3A5}"/>
              </a:ext>
            </a:extLst>
          </p:cNvPr>
          <p:cNvGrpSpPr/>
          <p:nvPr/>
        </p:nvGrpSpPr>
        <p:grpSpPr>
          <a:xfrm>
            <a:off x="4317276" y="4539931"/>
            <a:ext cx="7512774" cy="296646"/>
            <a:chOff x="1693318" y="4502949"/>
            <a:chExt cx="8805363" cy="296646"/>
          </a:xfrm>
        </p:grpSpPr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A17EF897-C389-49F9-A32B-516E0A72D486}"/>
                </a:ext>
              </a:extLst>
            </p:cNvPr>
            <p:cNvCxnSpPr/>
            <p:nvPr/>
          </p:nvCxnSpPr>
          <p:spPr>
            <a:xfrm>
              <a:off x="1693318" y="4502949"/>
              <a:ext cx="8805363" cy="0"/>
            </a:xfrm>
            <a:prstGeom prst="straightConnector1">
              <a:avLst/>
            </a:prstGeom>
            <a:ln w="12700">
              <a:solidFill>
                <a:schemeClr val="accent5"/>
              </a:solidFill>
              <a:tailEnd type="arrow" w="med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42D68DB-836B-4DA3-83EF-0D9EA1044066}"/>
                </a:ext>
              </a:extLst>
            </p:cNvPr>
            <p:cNvSpPr txBox="1"/>
            <p:nvPr/>
          </p:nvSpPr>
          <p:spPr>
            <a:xfrm>
              <a:off x="9962341" y="4522596"/>
              <a:ext cx="536340" cy="276999"/>
            </a:xfrm>
            <a:prstGeom prst="rect">
              <a:avLst/>
            </a:prstGeom>
            <a:noFill/>
          </p:spPr>
          <p:txBody>
            <a:bodyPr wrap="square" lIns="0" rIns="0">
              <a:spAutoFit/>
            </a:bodyPr>
            <a:lstStyle/>
            <a:p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B2B2B2">
                      <a:lumMod val="75000"/>
                    </a:srgbClr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rPr>
                <a:t>tijd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B2B2B2">
                    <a:lumMod val="75000"/>
                  </a:srgbClr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</p:grpSp>
      <p:sp>
        <p:nvSpPr>
          <p:cNvPr id="26" name="TextBox 25">
            <a:extLst>
              <a:ext uri="{FF2B5EF4-FFF2-40B4-BE49-F238E27FC236}">
                <a16:creationId xmlns:a16="http://schemas.microsoft.com/office/drawing/2014/main" id="{3B325A66-F77A-4C1E-B001-AAFE398FC651}"/>
              </a:ext>
            </a:extLst>
          </p:cNvPr>
          <p:cNvSpPr txBox="1"/>
          <p:nvPr/>
        </p:nvSpPr>
        <p:spPr>
          <a:xfrm>
            <a:off x="5442950" y="3421626"/>
            <a:ext cx="175321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 Regular"/>
                <a:ea typeface="+mn-ea"/>
                <a:cs typeface="+mn-cs"/>
              </a:rPr>
              <a:t>Soms acute ziekenhuisopnames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8179C2F-C381-4369-977C-C0F465713DCB}"/>
              </a:ext>
            </a:extLst>
          </p:cNvPr>
          <p:cNvGrpSpPr/>
          <p:nvPr/>
        </p:nvGrpSpPr>
        <p:grpSpPr>
          <a:xfrm>
            <a:off x="5598946" y="3175766"/>
            <a:ext cx="334544" cy="334543"/>
            <a:chOff x="4291609" y="3254132"/>
            <a:chExt cx="334544" cy="334543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310ECEA9-70DF-42AE-96D1-E978FF829D0F}"/>
                </a:ext>
              </a:extLst>
            </p:cNvPr>
            <p:cNvSpPr/>
            <p:nvPr/>
          </p:nvSpPr>
          <p:spPr>
            <a:xfrm>
              <a:off x="4291609" y="3254132"/>
              <a:ext cx="334544" cy="334543"/>
            </a:xfrm>
            <a:prstGeom prst="ellipse">
              <a:avLst/>
            </a:prstGeom>
            <a:solidFill>
              <a:schemeClr val="accent3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29" name="Oval 28">
              <a:extLst>
                <a:ext uri="{FF2B5EF4-FFF2-40B4-BE49-F238E27FC236}">
                  <a16:creationId xmlns:a16="http://schemas.microsoft.com/office/drawing/2014/main" id="{3322D515-49C5-4984-81C0-E12F5FE6E17F}"/>
                </a:ext>
              </a:extLst>
            </p:cNvPr>
            <p:cNvSpPr/>
            <p:nvPr/>
          </p:nvSpPr>
          <p:spPr>
            <a:xfrm>
              <a:off x="4373247" y="3335770"/>
              <a:ext cx="171268" cy="17126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D1CD45C2-22D2-4841-B63E-370761AC4731}"/>
              </a:ext>
            </a:extLst>
          </p:cNvPr>
          <p:cNvGrpSpPr/>
          <p:nvPr/>
        </p:nvGrpSpPr>
        <p:grpSpPr>
          <a:xfrm>
            <a:off x="6829388" y="3343037"/>
            <a:ext cx="334544" cy="334543"/>
            <a:chOff x="4291609" y="3254132"/>
            <a:chExt cx="334544" cy="334543"/>
          </a:xfrm>
        </p:grpSpPr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77C2C007-B75F-4924-9233-2A0C07CBA3E5}"/>
                </a:ext>
              </a:extLst>
            </p:cNvPr>
            <p:cNvSpPr/>
            <p:nvPr/>
          </p:nvSpPr>
          <p:spPr>
            <a:xfrm>
              <a:off x="4291609" y="3254132"/>
              <a:ext cx="334544" cy="334543"/>
            </a:xfrm>
            <a:prstGeom prst="ellipse">
              <a:avLst/>
            </a:prstGeom>
            <a:solidFill>
              <a:schemeClr val="accent3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9BBE9834-2C0D-457A-A274-68B0BE7E31BE}"/>
                </a:ext>
              </a:extLst>
            </p:cNvPr>
            <p:cNvSpPr/>
            <p:nvPr/>
          </p:nvSpPr>
          <p:spPr>
            <a:xfrm>
              <a:off x="4373247" y="3335770"/>
              <a:ext cx="171268" cy="171268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5AF7554D-D107-4637-9A61-377378194FE0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926" y="2529362"/>
            <a:ext cx="3031424" cy="2520000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578EA0DD-D603-4A90-9E0D-41B6AB858EA5}"/>
              </a:ext>
            </a:extLst>
          </p:cNvPr>
          <p:cNvSpPr txBox="1"/>
          <p:nvPr/>
        </p:nvSpPr>
        <p:spPr>
          <a:xfrm>
            <a:off x="371475" y="6209944"/>
            <a:ext cx="3571875" cy="215444"/>
          </a:xfrm>
          <a:prstGeom prst="rect">
            <a:avLst/>
          </a:prstGeom>
          <a:noFill/>
        </p:spPr>
        <p:txBody>
          <a:bodyPr wrap="square" lIns="0" r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800" b="0" i="1" u="none" strike="noStrike" kern="1200" cap="none" spc="0" normalizeH="0" baseline="0" noProof="0" dirty="0">
                <a:ln>
                  <a:noFill/>
                </a:ln>
                <a:solidFill>
                  <a:srgbClr val="B2B2B2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Murray, 2005</a:t>
            </a:r>
          </a:p>
        </p:txBody>
      </p:sp>
    </p:spTree>
    <p:extLst>
      <p:ext uri="{BB962C8B-B14F-4D97-AF65-F5344CB8AC3E}">
        <p14:creationId xmlns:p14="http://schemas.microsoft.com/office/powerpoint/2010/main" val="4108079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Topic"/>
  <p:tag name="EE4P_AGENDAWIZARD_CONTENT" val="/Distress"/>
  <p:tag name="EE4P_AGENDAWIZARD_PROPERTIES" val="77.00465/135.25/131.3958/31.5047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ItemNo"/>
  <p:tag name="EE4P_AGENDAWIZARD_CONTENT" val="/1"/>
  <p:tag name="EE4P_AGENDAWIZARD_PROPERTIES" val="40.49992/135.25/31.50472/31.50472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ItemNo"/>
  <p:tag name="EE4P_AGENDAWIZARD_CONTENT" val="/2.1"/>
  <p:tag name="EE4P_AGENDAWIZARD_PROPERTIES" val="77.00465/208.2594/31.50472/31.50472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Topic"/>
  <p:tag name="EE4P_AGENDAWIZARD_CONTENT" val="/Distress"/>
  <p:tag name="EE4P_AGENDAWIZARD_PROPERTIES" val="77.00465/135.25/131.3958/31.5047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ItemNo"/>
  <p:tag name="EE4P_AGENDAWIZARD_CONTENT" val="/1"/>
  <p:tag name="EE4P_AGENDAWIZARD_PROPERTIES" val="40.49992/135.25/31.50472/31.5047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Topic"/>
  <p:tag name="EE4P_AGENDAWIZARD_CONTENT" val="/test"/>
  <p:tag name="EE4P_AGENDAWIZARD_PROPERTIES" val="113.5094/208.2594/131.3958/31.5047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ItemNo"/>
  <p:tag name="EE4P_AGENDAWIZARD_CONTENT" val="/2.1"/>
  <p:tag name="EE4P_AGENDAWIZARD_PROPERTIES" val="77.00465/208.2594/31.50472/31.5047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Topic"/>
  <p:tag name="EE4P_AGENDAWIZARD_CONTENT" val="/test"/>
  <p:tag name="EE4P_AGENDAWIZARD_PROPERTIES" val="113.5094/208.2594/131.3958/31.50472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ItemNo"/>
  <p:tag name="EE4P_AGENDAWIZARD_CONTENT" val="/2.1"/>
  <p:tag name="EE4P_AGENDAWIZARD_PROPERTIES" val="77.00465/208.2594/31.50472/31.5047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Topic"/>
  <p:tag name="EE4P_AGENDAWIZARD_CONTENT" val="/Distress"/>
  <p:tag name="EE4P_AGENDAWIZARD_PROPERTIES" val="77.00465/135.25/131.3958/31.5047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ItemNo"/>
  <p:tag name="EE4P_AGENDAWIZARD_CONTENT" val="/1"/>
  <p:tag name="EE4P_AGENDAWIZARD_PROPERTIES" val="40.49992/135.25/31.50472/31.50472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Topic"/>
  <p:tag name="EE4P_AGENDAWIZARD_CONTENT" val="/Distress"/>
  <p:tag name="EE4P_AGENDAWIZARD_PROPERTIES" val="77.00465/135.25/131.3958/31.5047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Topic"/>
  <p:tag name="EE4P_AGENDAWIZARD_CONTENT" val="/Distress"/>
  <p:tag name="EE4P_AGENDAWIZARD_PROPERTIES" val="77.00465/135.25/131.3958/31.50472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ItemNo"/>
  <p:tag name="EE4P_AGENDAWIZARD_CONTENT" val="/1"/>
  <p:tag name="EE4P_AGENDAWIZARD_PROPERTIES" val="40.49992/135.25/31.50472/31.50472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Topic"/>
  <p:tag name="EE4P_AGENDAWIZARD_CONTENT" val="/Distress"/>
  <p:tag name="EE4P_AGENDAWIZARD_PROPERTIES" val="77.00465/135.25/131.3958/31.50472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ItemNo"/>
  <p:tag name="EE4P_AGENDAWIZARD_CONTENT" val="/1"/>
  <p:tag name="EE4P_AGENDAWIZARD_PROPERTIES" val="40.49992/135.25/31.50472/31.50472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Topic"/>
  <p:tag name="EE4P_AGENDAWIZARD_CONTENT" val="/Distress"/>
  <p:tag name="EE4P_AGENDAWIZARD_PROPERTIES" val="77.00465/135.25/131.3958/31.50472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ItemNo"/>
  <p:tag name="EE4P_AGENDAWIZARD_CONTENT" val="/1"/>
  <p:tag name="EE4P_AGENDAWIZARD_PROPERTIES" val="40.49992/135.25/31.50472/31.50472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Topic"/>
  <p:tag name="EE4P_AGENDAWIZARD_CONTENT" val="/test"/>
  <p:tag name="EE4P_AGENDAWIZARD_PROPERTIES" val="113.5094/208.2594/131.3958/31.50472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ItemNo"/>
  <p:tag name="EE4P_AGENDAWIZARD_CONTENT" val="/2.1"/>
  <p:tag name="EE4P_AGENDAWIZARD_PROPERTIES" val="77.00465/208.2594/31.50472/31.50472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Topic"/>
  <p:tag name="EE4P_AGENDAWIZARD_CONTENT" val="/test"/>
  <p:tag name="EE4P_AGENDAWIZARD_PROPERTIES" val="113.5094/208.2594/131.3958/31.50472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ItemNo"/>
  <p:tag name="EE4P_AGENDAWIZARD_CONTENT" val="/2.1"/>
  <p:tag name="EE4P_AGENDAWIZARD_PROPERTIES" val="77.00465/208.2594/31.50472/31.50472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Topic"/>
  <p:tag name="EE4P_AGENDAWIZARD_CONTENT" val="/test"/>
  <p:tag name="EE4P_AGENDAWIZARD_PROPERTIES" val="113.5094/208.2594/131.3958/31.5047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ItemNo"/>
  <p:tag name="EE4P_AGENDAWIZARD_CONTENT" val="/1"/>
  <p:tag name="EE4P_AGENDAWIZARD_PROPERTIES" val="40.49992/135.25/31.50472/31.50472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ItemNo"/>
  <p:tag name="EE4P_AGENDAWIZARD_CONTENT" val="/2.1"/>
  <p:tag name="EE4P_AGENDAWIZARD_PROPERTIES" val="77.00465/208.2594/31.50472/31.5047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Topic"/>
  <p:tag name="EE4P_AGENDAWIZARD_CONTENT" val="/Distress"/>
  <p:tag name="EE4P_AGENDAWIZARD_PROPERTIES" val="77.00465/135.25/131.3958/31.5047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ItemNo"/>
  <p:tag name="EE4P_AGENDAWIZARD_CONTENT" val="/1"/>
  <p:tag name="EE4P_AGENDAWIZARD_PROPERTIES" val="40.49992/135.25/31.50472/31.5047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Topic"/>
  <p:tag name="EE4P_AGENDAWIZARD_CONTENT" val="/test"/>
  <p:tag name="EE4P_AGENDAWIZARD_PROPERTIES" val="113.5094/208.2594/131.3958/31.5047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ItemNo"/>
  <p:tag name="EE4P_AGENDAWIZARD_CONTENT" val="/2.1"/>
  <p:tag name="EE4P_AGENDAWIZARD_PROPERTIES" val="77.00465/208.2594/31.50472/31.5047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Topic"/>
  <p:tag name="EE4P_AGENDAWIZARD_CONTENT" val="/test"/>
  <p:tag name="EE4P_AGENDAWIZARD_PROPERTIES" val="113.5094/208.2594/131.3958/31.5047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ItemNo"/>
  <p:tag name="EE4P_AGENDAWIZARD_CONTENT" val="/2.1"/>
  <p:tag name="EE4P_AGENDAWIZARD_PROPERTIES" val="77.00465/208.2594/31.50472/31.5047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Topic"/>
  <p:tag name="EE4P_AGENDAWIZARD_CONTENT" val="/test"/>
  <p:tag name="EE4P_AGENDAWIZARD_PROPERTIES" val="113.5094/208.2594/131.3958/31.5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ItemNo"/>
  <p:tag name="EE4P_AGENDAWIZARD_CONTENT" val="/1"/>
  <p:tag name="EE4P_AGENDAWIZARD_PROPERTIES" val="40.49992/135.25/31.50472/31.50472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ItemNo"/>
  <p:tag name="EE4P_AGENDAWIZARD_CONTENT" val="/2.1"/>
  <p:tag name="EE4P_AGENDAWIZARD_PROPERTIES" val="77.00465/208.2594/31.50472/31.5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Topic"/>
  <p:tag name="EE4P_AGENDAWIZARD_CONTENT" val="/Distress"/>
  <p:tag name="EE4P_AGENDAWIZARD_PROPERTIES" val="77.00465/135.25/131.3958/31.5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ItemNo"/>
  <p:tag name="EE4P_AGENDAWIZARD_CONTENT" val="/1"/>
  <p:tag name="EE4P_AGENDAWIZARD_PROPERTIES" val="40.49992/135.25/31.50472/31.5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Topic"/>
  <p:tag name="EE4P_AGENDAWIZARD_CONTENT" val="/test"/>
  <p:tag name="EE4P_AGENDAWIZARD_PROPERTIES" val="113.5094/208.2594/131.3958/31.5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ItemNo"/>
  <p:tag name="EE4P_AGENDAWIZARD_CONTENT" val="/2.1"/>
  <p:tag name="EE4P_AGENDAWIZARD_PROPERTIES" val="77.00465/208.2594/31.50472/31.5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Topic"/>
  <p:tag name="EE4P_AGENDAWIZARD_CONTENT" val="/test"/>
  <p:tag name="EE4P_AGENDAWIZARD_PROPERTIES" val="113.5094/208.2594/131.3958/31.5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ItemNo"/>
  <p:tag name="EE4P_AGENDAWIZARD_CONTENT" val="/2.1"/>
  <p:tag name="EE4P_AGENDAWIZARD_PROPERTIES" val="77.00465/208.2594/31.50472/31.5047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Topic"/>
  <p:tag name="EE4P_AGENDAWIZARD_CONTENT" val="/Distress"/>
  <p:tag name="EE4P_AGENDAWIZARD_PROPERTIES" val="77.00465/135.25/131.3958/31.5047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ItemNo"/>
  <p:tag name="EE4P_AGENDAWIZARD_CONTENT" val="/1"/>
  <p:tag name="EE4P_AGENDAWIZARD_PROPERTIES" val="40.49992/135.25/31.50472/31.5047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Topic"/>
  <p:tag name="EE4P_AGENDAWIZARD_CONTENT" val="/Distress"/>
  <p:tag name="EE4P_AGENDAWIZARD_PROPERTIES" val="77.00465/135.25/131.3958/31.5047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Topic"/>
  <p:tag name="EE4P_AGENDAWIZARD_CONTENT" val="/test"/>
  <p:tag name="EE4P_AGENDAWIZARD_PROPERTIES" val="113.5094/208.2594/131.3958/31.50472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ItemNo"/>
  <p:tag name="EE4P_AGENDAWIZARD_CONTENT" val="/1"/>
  <p:tag name="EE4P_AGENDAWIZARD_PROPERTIES" val="40.49992/135.25/31.50472/31.5047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Topic"/>
  <p:tag name="EE4P_AGENDAWIZARD_CONTENT" val="/Distress"/>
  <p:tag name="EE4P_AGENDAWIZARD_PROPERTIES" val="77.00465/135.25/131.3958/31.5047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ItemNo"/>
  <p:tag name="EE4P_AGENDAWIZARD_CONTENT" val="/1"/>
  <p:tag name="EE4P_AGENDAWIZARD_PROPERTIES" val="40.49992/135.25/31.50472/31.5047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Topic"/>
  <p:tag name="EE4P_AGENDAWIZARD_CONTENT" val="/Distress"/>
  <p:tag name="EE4P_AGENDAWIZARD_PROPERTIES" val="77.00465/135.25/131.3958/31.5047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ItemNo"/>
  <p:tag name="EE4P_AGENDAWIZARD_CONTENT" val="/1"/>
  <p:tag name="EE4P_AGENDAWIZARD_PROPERTIES" val="40.49992/135.25/31.50472/31.5047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Topic"/>
  <p:tag name="EE4P_AGENDAWIZARD_CONTENT" val="/test"/>
  <p:tag name="EE4P_AGENDAWIZARD_PROPERTIES" val="113.5094/208.2594/131.3958/31.5047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ItemNo"/>
  <p:tag name="EE4P_AGENDAWIZARD_CONTENT" val="/2.1"/>
  <p:tag name="EE4P_AGENDAWIZARD_PROPERTIES" val="77.00465/208.2594/31.50472/31.5047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Topic"/>
  <p:tag name="EE4P_AGENDAWIZARD_CONTENT" val="/test"/>
  <p:tag name="EE4P_AGENDAWIZARD_PROPERTIES" val="113.5094/208.2594/131.3958/31.5047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ItemNo"/>
  <p:tag name="EE4P_AGENDAWIZARD_CONTENT" val="/2.1"/>
  <p:tag name="EE4P_AGENDAWIZARD_PROPERTIES" val="77.00465/208.2594/31.50472/31.5047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Topic"/>
  <p:tag name="EE4P_AGENDAWIZARD_CONTENT" val="/test"/>
  <p:tag name="EE4P_AGENDAWIZARD_PROPERTIES" val="113.5094/208.2594/131.3958/31.5047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ItemNo"/>
  <p:tag name="EE4P_AGENDAWIZARD_CONTENT" val="/2.1"/>
  <p:tag name="EE4P_AGENDAWIZARD_PROPERTIES" val="77.00465/208.2594/31.50472/31.5047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ItemNo"/>
  <p:tag name="EE4P_AGENDAWIZARD_CONTENT" val="/2.1"/>
  <p:tag name="EE4P_AGENDAWIZARD_PROPERTIES" val="77.00465/208.2594/31.50472/31.5047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Topic"/>
  <p:tag name="EE4P_AGENDAWIZARD_CONTENT" val="/Distress"/>
  <p:tag name="EE4P_AGENDAWIZARD_PROPERTIES" val="77.00465/135.25/131.3958/31.5047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ItemNo"/>
  <p:tag name="EE4P_AGENDAWIZARD_CONTENT" val="/1"/>
  <p:tag name="EE4P_AGENDAWIZARD_PROPERTIES" val="40.49992/135.25/31.50472/31.5047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Topic"/>
  <p:tag name="EE4P_AGENDAWIZARD_CONTENT" val="/test"/>
  <p:tag name="EE4P_AGENDAWIZARD_PROPERTIES" val="113.5094/208.2594/131.3958/31.5047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ItemNo"/>
  <p:tag name="EE4P_AGENDAWIZARD_CONTENT" val="/2.1"/>
  <p:tag name="EE4P_AGENDAWIZARD_PROPERTIES" val="77.00465/208.2594/31.50472/31.5047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Topic"/>
  <p:tag name="EE4P_AGENDAWIZARD_CONTENT" val="/test"/>
  <p:tag name="EE4P_AGENDAWIZARD_PROPERTIES" val="113.5094/208.2594/131.3958/31.5047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ItemNo"/>
  <p:tag name="EE4P_AGENDAWIZARD_CONTENT" val="/2.1"/>
  <p:tag name="EE4P_AGENDAWIZARD_PROPERTIES" val="77.00465/208.2594/31.50472/31.5047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Topic"/>
  <p:tag name="EE4P_AGENDAWIZARD_CONTENT" val="/Distress"/>
  <p:tag name="EE4P_AGENDAWIZARD_PROPERTIES" val="77.00465/135.25/131.3958/31.5047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ItemNo"/>
  <p:tag name="EE4P_AGENDAWIZARD_CONTENT" val="/1"/>
  <p:tag name="EE4P_AGENDAWIZARD_PROPERTIES" val="40.49992/135.25/31.50472/31.5047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Topic"/>
  <p:tag name="EE4P_AGENDAWIZARD_CONTENT" val="/Distress"/>
  <p:tag name="EE4P_AGENDAWIZARD_PROPERTIES" val="77.00465/135.25/131.3958/31.5047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Topic"/>
  <p:tag name="EE4P_AGENDAWIZARD_CONTENT" val="/test"/>
  <p:tag name="EE4P_AGENDAWIZARD_PROPERTIES" val="113.5094/208.2594/131.3958/31.5047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ItemNo"/>
  <p:tag name="EE4P_AGENDAWIZARD_CONTENT" val="/1"/>
  <p:tag name="EE4P_AGENDAWIZARD_PROPERTIES" val="40.49992/135.25/31.50472/31.5047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Topic"/>
  <p:tag name="EE4P_AGENDAWIZARD_CONTENT" val="/Distress"/>
  <p:tag name="EE4P_AGENDAWIZARD_PROPERTIES" val="77.00465/135.25/131.3958/31.5047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ItemNo"/>
  <p:tag name="EE4P_AGENDAWIZARD_CONTENT" val="/1"/>
  <p:tag name="EE4P_AGENDAWIZARD_PROPERTIES" val="40.49992/135.25/31.50472/31.50472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Topic"/>
  <p:tag name="EE4P_AGENDAWIZARD_CONTENT" val="/Distress"/>
  <p:tag name="EE4P_AGENDAWIZARD_PROPERTIES" val="77.00465/135.25/131.3958/31.5047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ItemNo"/>
  <p:tag name="EE4P_AGENDAWIZARD_CONTENT" val="/1"/>
  <p:tag name="EE4P_AGENDAWIZARD_PROPERTIES" val="40.49992/135.25/31.50472/31.5047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Topic"/>
  <p:tag name="EE4P_AGENDAWIZARD_CONTENT" val="/test"/>
  <p:tag name="EE4P_AGENDAWIZARD_PROPERTIES" val="113.5094/208.2594/131.3958/31.5047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ItemNo"/>
  <p:tag name="EE4P_AGENDAWIZARD_CONTENT" val="/2.1"/>
  <p:tag name="EE4P_AGENDAWIZARD_PROPERTIES" val="77.00465/208.2594/31.50472/31.5047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Topic"/>
  <p:tag name="EE4P_AGENDAWIZARD_CONTENT" val="/test"/>
  <p:tag name="EE4P_AGENDAWIZARD_PROPERTIES" val="113.5094/208.2594/131.3958/31.5047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ItemNo"/>
  <p:tag name="EE4P_AGENDAWIZARD_CONTENT" val="/2.1"/>
  <p:tag name="EE4P_AGENDAWIZARD_PROPERTIES" val="77.00465/208.2594/31.50472/31.5047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Topic"/>
  <p:tag name="EE4P_AGENDAWIZARD_CONTENT" val="/test"/>
  <p:tag name="EE4P_AGENDAWIZARD_PROPERTIES" val="113.5094/208.2594/131.3958/31.5047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ItemNo"/>
  <p:tag name="EE4P_AGENDAWIZARD_CONTENT" val="/2.1"/>
  <p:tag name="EE4P_AGENDAWIZARD_PROPERTIES" val="77.00465/208.2594/31.50472/31.5047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ItemNo"/>
  <p:tag name="EE4P_AGENDAWIZARD_CONTENT" val="/2.1"/>
  <p:tag name="EE4P_AGENDAWIZARD_PROPERTIES" val="77.00465/208.2594/31.50472/31.5047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Topic"/>
  <p:tag name="EE4P_AGENDAWIZARD_CONTENT" val="/Distress"/>
  <p:tag name="EE4P_AGENDAWIZARD_PROPERTIES" val="77.00465/135.25/131.3958/31.5047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ItemNo"/>
  <p:tag name="EE4P_AGENDAWIZARD_CONTENT" val="/1"/>
  <p:tag name="EE4P_AGENDAWIZARD_PROPERTIES" val="40.49992/135.25/31.50472/31.5047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Topic"/>
  <p:tag name="EE4P_AGENDAWIZARD_CONTENT" val="/test"/>
  <p:tag name="EE4P_AGENDAWIZARD_PROPERTIES" val="113.5094/208.2594/131.3958/31.5047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ItemNo"/>
  <p:tag name="EE4P_AGENDAWIZARD_CONTENT" val="/2.1"/>
  <p:tag name="EE4P_AGENDAWIZARD_PROPERTIES" val="77.00465/208.2594/31.50472/31.5047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Topic"/>
  <p:tag name="EE4P_AGENDAWIZARD_CONTENT" val="/test"/>
  <p:tag name="EE4P_AGENDAWIZARD_PROPERTIES" val="113.5094/208.2594/131.3958/31.5047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ItemNo"/>
  <p:tag name="EE4P_AGENDAWIZARD_CONTENT" val="/2.1"/>
  <p:tag name="EE4P_AGENDAWIZARD_PROPERTIES" val="77.00465/208.2594/31.50472/31.50472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Topic"/>
  <p:tag name="EE4P_AGENDAWIZARD_CONTENT" val="/Distress"/>
  <p:tag name="EE4P_AGENDAWIZARD_PROPERTIES" val="77.00465/135.25/131.3958/31.5047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ItemNo"/>
  <p:tag name="EE4P_AGENDAWIZARD_CONTENT" val="/1"/>
  <p:tag name="EE4P_AGENDAWIZARD_PROPERTIES" val="40.49992/135.25/31.50472/31.5047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Topic"/>
  <p:tag name="EE4P_AGENDAWIZARD_CONTENT" val="/Distress"/>
  <p:tag name="EE4P_AGENDAWIZARD_PROPERTIES" val="77.00465/135.25/131.3958/31.5047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Topic"/>
  <p:tag name="EE4P_AGENDAWIZARD_CONTENT" val="/Distress"/>
  <p:tag name="EE4P_AGENDAWIZARD_PROPERTIES" val="77.00465/135.25/131.3958/31.50472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ItemNo"/>
  <p:tag name="EE4P_AGENDAWIZARD_CONTENT" val="/1"/>
  <p:tag name="EE4P_AGENDAWIZARD_PROPERTIES" val="40.49992/135.25/31.50472/31.5047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Topic"/>
  <p:tag name="EE4P_AGENDAWIZARD_CONTENT" val="/Distress"/>
  <p:tag name="EE4P_AGENDAWIZARD_PROPERTIES" val="77.00465/135.25/131.3958/31.5047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ItemNo"/>
  <p:tag name="EE4P_AGENDAWIZARD_CONTENT" val="/1"/>
  <p:tag name="EE4P_AGENDAWIZARD_PROPERTIES" val="40.49992/135.25/31.50472/31.5047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Topic"/>
  <p:tag name="EE4P_AGENDAWIZARD_CONTENT" val="/Distress"/>
  <p:tag name="EE4P_AGENDAWIZARD_PROPERTIES" val="77.00465/135.25/131.3958/31.5047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ItemNo"/>
  <p:tag name="EE4P_AGENDAWIZARD_CONTENT" val="/1"/>
  <p:tag name="EE4P_AGENDAWIZARD_PROPERTIES" val="40.49992/135.25/31.50472/31.5047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Topic"/>
  <p:tag name="EE4P_AGENDAWIZARD_CONTENT" val="/test"/>
  <p:tag name="EE4P_AGENDAWIZARD_PROPERTIES" val="113.5094/208.2594/131.3958/31.5047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ItemNo"/>
  <p:tag name="EE4P_AGENDAWIZARD_CONTENT" val="/2.1"/>
  <p:tag name="EE4P_AGENDAWIZARD_PROPERTIES" val="77.00465/208.2594/31.50472/31.5047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Topic"/>
  <p:tag name="EE4P_AGENDAWIZARD_CONTENT" val="/test"/>
  <p:tag name="EE4P_AGENDAWIZARD_PROPERTIES" val="113.5094/208.2594/131.3958/31.5047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ItemNo"/>
  <p:tag name="EE4P_AGENDAWIZARD_CONTENT" val="/2.1"/>
  <p:tag name="EE4P_AGENDAWIZARD_PROPERTIES" val="77.00465/208.2594/31.50472/31.5047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Topic"/>
  <p:tag name="EE4P_AGENDAWIZARD_CONTENT" val="/test"/>
  <p:tag name="EE4P_AGENDAWIZARD_PROPERTIES" val="113.5094/208.2594/131.3958/31.5047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ItemNo"/>
  <p:tag name="EE4P_AGENDAWIZARD_CONTENT" val="/1"/>
  <p:tag name="EE4P_AGENDAWIZARD_PROPERTIES" val="40.49992/135.25/31.50472/31.50472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ItemNo"/>
  <p:tag name="EE4P_AGENDAWIZARD_CONTENT" val="/2.1"/>
  <p:tag name="EE4P_AGENDAWIZARD_PROPERTIES" val="77.00465/208.2594/31.50472/31.5047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Topic"/>
  <p:tag name="EE4P_AGENDAWIZARD_CONTENT" val="/Distress"/>
  <p:tag name="EE4P_AGENDAWIZARD_PROPERTIES" val="77.00465/135.25/131.3958/31.5047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ItemNo"/>
  <p:tag name="EE4P_AGENDAWIZARD_CONTENT" val="/1"/>
  <p:tag name="EE4P_AGENDAWIZARD_PROPERTIES" val="40.49992/135.25/31.50472/31.5047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Topic"/>
  <p:tag name="EE4P_AGENDAWIZARD_CONTENT" val="/test"/>
  <p:tag name="EE4P_AGENDAWIZARD_PROPERTIES" val="113.5094/208.2594/131.3958/31.5047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ItemNo"/>
  <p:tag name="EE4P_AGENDAWIZARD_CONTENT" val="/2.1"/>
  <p:tag name="EE4P_AGENDAWIZARD_PROPERTIES" val="77.00465/208.2594/31.50472/31.5047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Topic"/>
  <p:tag name="EE4P_AGENDAWIZARD_CONTENT" val="/test"/>
  <p:tag name="EE4P_AGENDAWIZARD_PROPERTIES" val="113.5094/208.2594/131.3958/31.5047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ItemNo"/>
  <p:tag name="EE4P_AGENDAWIZARD_CONTENT" val="/2.1"/>
  <p:tag name="EE4P_AGENDAWIZARD_PROPERTIES" val="77.00465/208.2594/31.50472/31.5047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Topic"/>
  <p:tag name="EE4P_AGENDAWIZARD_CONTENT" val="/Distress"/>
  <p:tag name="EE4P_AGENDAWIZARD_PROPERTIES" val="77.00465/135.25/131.3958/31.5047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ItemNo"/>
  <p:tag name="EE4P_AGENDAWIZARD_CONTENT" val="/1"/>
  <p:tag name="EE4P_AGENDAWIZARD_PROPERTIES" val="40.49992/135.25/31.50472/31.5047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Topic"/>
  <p:tag name="EE4P_AGENDAWIZARD_CONTENT" val="/Distress"/>
  <p:tag name="EE4P_AGENDAWIZARD_PROPERTIES" val="77.00465/135.25/131.3958/31.5047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Topic"/>
  <p:tag name="EE4P_AGENDAWIZARD_CONTENT" val="/Distress"/>
  <p:tag name="EE4P_AGENDAWIZARD_PROPERTIES" val="77.00465/135.25/131.3958/31.50472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ItemNo"/>
  <p:tag name="EE4P_AGENDAWIZARD_CONTENT" val="/1"/>
  <p:tag name="EE4P_AGENDAWIZARD_PROPERTIES" val="40.49992/135.25/31.50472/31.5047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Topic"/>
  <p:tag name="EE4P_AGENDAWIZARD_CONTENT" val="/Distress"/>
  <p:tag name="EE4P_AGENDAWIZARD_PROPERTIES" val="77.00465/135.25/131.3958/31.50472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ItemNo"/>
  <p:tag name="EE4P_AGENDAWIZARD_CONTENT" val="/1"/>
  <p:tag name="EE4P_AGENDAWIZARD_PROPERTIES" val="40.49992/135.25/31.50472/31.5047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Topic"/>
  <p:tag name="EE4P_AGENDAWIZARD_CONTENT" val="/Distress"/>
  <p:tag name="EE4P_AGENDAWIZARD_PROPERTIES" val="77.00465/135.25/131.3958/31.5047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7f90bee8-3006-4b68-aadd-4b338501a549_ItemNo"/>
  <p:tag name="EE4P_AGENDAWIZARD_CONTENT" val="/1"/>
  <p:tag name="EE4P_AGENDAWIZARD_PROPERTIES" val="40.49992/135.25/31.50472/31.5047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Topic"/>
  <p:tag name="EE4P_AGENDAWIZARD_CONTENT" val="/test"/>
  <p:tag name="EE4P_AGENDAWIZARD_PROPERTIES" val="113.5094/208.2594/131.3958/31.5047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ItemNo"/>
  <p:tag name="EE4P_AGENDAWIZARD_CONTENT" val="/2.1"/>
  <p:tag name="EE4P_AGENDAWIZARD_PROPERTIES" val="77.00465/208.2594/31.50472/31.5047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Topic"/>
  <p:tag name="EE4P_AGENDAWIZARD_CONTENT" val="/test"/>
  <p:tag name="EE4P_AGENDAWIZARD_PROPERTIES" val="113.5094/208.2594/131.3958/31.50472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ItemNo"/>
  <p:tag name="EE4P_AGENDAWIZARD_CONTENT" val="/2.1"/>
  <p:tag name="EE4P_AGENDAWIZARD_PROPERTIES" val="77.00465/208.2594/31.50472/31.5047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item_42b7dd49-c73d-4514-9f84-22f2c2d3985a_Topic"/>
  <p:tag name="EE4P_AGENDAWIZARD_CONTENT" val="/test"/>
  <p:tag name="EE4P_AGENDAWIZARD_PROPERTIES" val="113.5094/208.2594/131.3958/31.50472"/>
</p:tagLst>
</file>

<file path=ppt/theme/theme1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be6fec05-be4f-47e7-8e35-3bb8c5bd903a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6D673FE356ED649A52C155C8360A6EF" ma:contentTypeVersion="13" ma:contentTypeDescription="Create a new document." ma:contentTypeScope="" ma:versionID="737fae8b3ca4fabc18306621989c1251">
  <xsd:schema xmlns:xsd="http://www.w3.org/2001/XMLSchema" xmlns:xs="http://www.w3.org/2001/XMLSchema" xmlns:p="http://schemas.microsoft.com/office/2006/metadata/properties" xmlns:ns3="be6fec05-be4f-47e7-8e35-3bb8c5bd903a" xmlns:ns4="62ddcd6c-ef7c-4b4e-92ae-f818e620d13d" targetNamespace="http://schemas.microsoft.com/office/2006/metadata/properties" ma:root="true" ma:fieldsID="62143ceacddfad92c8543108b02ac062" ns3:_="" ns4:_="">
    <xsd:import namespace="be6fec05-be4f-47e7-8e35-3bb8c5bd903a"/>
    <xsd:import namespace="62ddcd6c-ef7c-4b4e-92ae-f818e620d13d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e6fec05-be4f-47e7-8e35-3bb8c5bd903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1" nillable="true" ma:displayName="_activity" ma:hidden="true" ma:internalName="_activity">
      <xsd:simpleType>
        <xsd:restriction base="dms:Note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9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ddcd6c-ef7c-4b4e-92ae-f818e620d13d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F402BFB-6A24-45EB-A14A-57B96D163AEB}">
  <ds:schemaRefs>
    <ds:schemaRef ds:uri="http://www.w3.org/XML/1998/namespace"/>
    <ds:schemaRef ds:uri="http://schemas.microsoft.com/office/infopath/2007/PartnerControls"/>
    <ds:schemaRef ds:uri="http://purl.org/dc/dcmitype/"/>
    <ds:schemaRef ds:uri="http://schemas.microsoft.com/office/2006/metadata/properties"/>
    <ds:schemaRef ds:uri="http://purl.org/dc/elements/1.1/"/>
    <ds:schemaRef ds:uri="62ddcd6c-ef7c-4b4e-92ae-f818e620d13d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be6fec05-be4f-47e7-8e35-3bb8c5bd903a"/>
  </ds:schemaRefs>
</ds:datastoreItem>
</file>

<file path=customXml/itemProps2.xml><?xml version="1.0" encoding="utf-8"?>
<ds:datastoreItem xmlns:ds="http://schemas.openxmlformats.org/officeDocument/2006/customXml" ds:itemID="{DD0B6414-1BB5-4EE5-8BF1-6634DF050D4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FEC8E39-3DE5-4EBE-9701-EACED541F43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e6fec05-be4f-47e7-8e35-3bb8c5bd903a"/>
    <ds:schemaRef ds:uri="62ddcd6c-ef7c-4b4e-92ae-f818e620d13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3</TotalTime>
  <Words>3076</Words>
  <Application>Microsoft Office PowerPoint</Application>
  <PresentationFormat>Breedbeeld</PresentationFormat>
  <Paragraphs>624</Paragraphs>
  <Slides>72</Slides>
  <Notes>16</Notes>
  <HiddenSlides>3</HiddenSlides>
  <MMClips>3</MMClips>
  <ScaleCrop>false</ScaleCrop>
  <HeadingPairs>
    <vt:vector size="6" baseType="variant">
      <vt:variant>
        <vt:lpstr>Gebruikte lettertypen</vt:lpstr>
      </vt:variant>
      <vt:variant>
        <vt:i4>10</vt:i4>
      </vt:variant>
      <vt:variant>
        <vt:lpstr>Thema</vt:lpstr>
      </vt:variant>
      <vt:variant>
        <vt:i4>1</vt:i4>
      </vt:variant>
      <vt:variant>
        <vt:lpstr>Diatitels</vt:lpstr>
      </vt:variant>
      <vt:variant>
        <vt:i4>72</vt:i4>
      </vt:variant>
    </vt:vector>
  </HeadingPairs>
  <TitlesOfParts>
    <vt:vector size="83" baseType="lpstr">
      <vt:lpstr>Arial</vt:lpstr>
      <vt:lpstr>Calibri</vt:lpstr>
      <vt:lpstr>Calibri Light</vt:lpstr>
      <vt:lpstr>EB Garamond</vt:lpstr>
      <vt:lpstr>EB Garamond SemiBold</vt:lpstr>
      <vt:lpstr>Lato</vt:lpstr>
      <vt:lpstr>Lato Regular</vt:lpstr>
      <vt:lpstr>Lato Regular</vt:lpstr>
      <vt:lpstr>Lato Regular </vt:lpstr>
      <vt:lpstr>Lato Regular </vt:lpstr>
      <vt:lpstr>Kantoorthema</vt:lpstr>
      <vt:lpstr>PowerPoint-presentatie</vt:lpstr>
      <vt:lpstr>Palliatieve zorg “Leven toevoegen aan de dagen”</vt:lpstr>
      <vt:lpstr>PowerPoint-presentatie</vt:lpstr>
      <vt:lpstr>Om video te starten</vt:lpstr>
      <vt:lpstr>PowerPoint-presentatie</vt:lpstr>
      <vt:lpstr>PowerPoint-presentatie</vt:lpstr>
      <vt:lpstr>Domeinen van palliatieve zorg</vt:lpstr>
      <vt:lpstr>Korte periode van plotselinge en snelle achteruitgang Specifiek voor het beloop van kanker</vt:lpstr>
      <vt:lpstr>Geleidelijke achteruitgang met dips Vaak bij hartfalen en COPD </vt:lpstr>
      <vt:lpstr>Langdurige, geleidelijke achteruitgang Vaak kwetsbare ouderen en dementerenden </vt:lpstr>
      <vt:lpstr>Markering van palliatieve zorg </vt:lpstr>
      <vt:lpstr>PowerPoint-presentatie</vt:lpstr>
      <vt:lpstr>Stervensfase</vt:lpstr>
      <vt:lpstr>Oscar the cat: Kan je het overlijden zien aankomen?</vt:lpstr>
      <vt:lpstr>Sterfte in Nederland in 2015</vt:lpstr>
      <vt:lpstr>Medische interventies laatste levensfase</vt:lpstr>
      <vt:lpstr>PowerPoint-presentatie</vt:lpstr>
      <vt:lpstr>Final common pathway</vt:lpstr>
      <vt:lpstr>Gedaalde cardiac output</vt:lpstr>
      <vt:lpstr>Cerebrale hypoxie</vt:lpstr>
      <vt:lpstr>Signalen van een naderende dood</vt:lpstr>
      <vt:lpstr>Signalen van een naderende dood</vt:lpstr>
      <vt:lpstr>Waakmand</vt:lpstr>
      <vt:lpstr>Koppelbed</vt:lpstr>
      <vt:lpstr>PowerPoint-presentatie</vt:lpstr>
      <vt:lpstr>Palliatieve zorg</vt:lpstr>
      <vt:lpstr>Palliatieve sedatie</vt:lpstr>
      <vt:lpstr>Agenda</vt:lpstr>
      <vt:lpstr>Agenda</vt:lpstr>
      <vt:lpstr>PowerPoint-presentatie</vt:lpstr>
      <vt:lpstr>Palliatieve sedatie </vt:lpstr>
      <vt:lpstr>Feiten </vt:lpstr>
      <vt:lpstr>Feiten</vt:lpstr>
      <vt:lpstr>Palliatieve sedatie nationaal</vt:lpstr>
      <vt:lpstr>Palliatieve sedatie nationaal</vt:lpstr>
      <vt:lpstr>Palliatieve sedatie </vt:lpstr>
      <vt:lpstr>Refractair symptoom</vt:lpstr>
      <vt:lpstr>Veel voorkomende (refractaire) symptomen</vt:lpstr>
      <vt:lpstr>Vier dimensionele zorg  </vt:lpstr>
      <vt:lpstr>Agenda</vt:lpstr>
      <vt:lpstr>PowerPoint-presentatie</vt:lpstr>
      <vt:lpstr>Continue palliatieve sedatie </vt:lpstr>
      <vt:lpstr>Doseringschema</vt:lpstr>
      <vt:lpstr>Aanpassing in beleid</vt:lpstr>
      <vt:lpstr>Extra aanbevelingen</vt:lpstr>
      <vt:lpstr>Diepe vs proportionele sedatie</vt:lpstr>
      <vt:lpstr>Diepe vs proportionele sedatie  en levensduur</vt:lpstr>
      <vt:lpstr>Wens tot diepe sedatie</vt:lpstr>
      <vt:lpstr>Intermitterende sedatie </vt:lpstr>
      <vt:lpstr>Intermitterende sedatie </vt:lpstr>
      <vt:lpstr>Acute sedatie </vt:lpstr>
      <vt:lpstr>Acute sedatie </vt:lpstr>
      <vt:lpstr>Agenda</vt:lpstr>
      <vt:lpstr>Mevrouw B</vt:lpstr>
      <vt:lpstr>Dossiervoering </vt:lpstr>
      <vt:lpstr>Casus 1</vt:lpstr>
      <vt:lpstr>Casus 1</vt:lpstr>
      <vt:lpstr>Casus 1 Uitvoering</vt:lpstr>
      <vt:lpstr>Casus 2</vt:lpstr>
      <vt:lpstr>Casus 2</vt:lpstr>
      <vt:lpstr>Casus 2</vt:lpstr>
      <vt:lpstr>Casus 2 Kortdurend &amp; intermitterend</vt:lpstr>
      <vt:lpstr>Casus 2 Uitvoering</vt:lpstr>
      <vt:lpstr>Casus 2 Uitvoering</vt:lpstr>
      <vt:lpstr>Agenda</vt:lpstr>
      <vt:lpstr>De juiste informatie ontvangen?</vt:lpstr>
      <vt:lpstr>Ervaring met duur van de sedatie</vt:lpstr>
      <vt:lpstr>Ervaring naasten </vt:lpstr>
      <vt:lpstr>Agenda</vt:lpstr>
      <vt:lpstr>Kernpunten concept richtlijn</vt:lpstr>
      <vt:lpstr>Kernpunten</vt:lpstr>
      <vt:lpstr>PowerPoint-presentat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Cara Brok</dc:creator>
  <cp:lastModifiedBy>Cara Brok</cp:lastModifiedBy>
  <cp:revision>6</cp:revision>
  <dcterms:created xsi:type="dcterms:W3CDTF">2023-11-28T21:28:48Z</dcterms:created>
  <dcterms:modified xsi:type="dcterms:W3CDTF">2023-11-30T14:31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6D673FE356ED649A52C155C8360A6EF</vt:lpwstr>
  </property>
</Properties>
</file>